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1"/>
  </p:notesMasterIdLst>
  <p:sldIdLst>
    <p:sldId id="268" r:id="rId2"/>
    <p:sldId id="291" r:id="rId3"/>
    <p:sldId id="327" r:id="rId4"/>
    <p:sldId id="281" r:id="rId5"/>
    <p:sldId id="297" r:id="rId6"/>
    <p:sldId id="317" r:id="rId7"/>
    <p:sldId id="298" r:id="rId8"/>
    <p:sldId id="300" r:id="rId9"/>
    <p:sldId id="303" r:id="rId10"/>
    <p:sldId id="299" r:id="rId11"/>
    <p:sldId id="325" r:id="rId12"/>
    <p:sldId id="326" r:id="rId13"/>
    <p:sldId id="304" r:id="rId14"/>
    <p:sldId id="305" r:id="rId15"/>
    <p:sldId id="306" r:id="rId16"/>
    <p:sldId id="318" r:id="rId17"/>
    <p:sldId id="309" r:id="rId18"/>
    <p:sldId id="322" r:id="rId19"/>
    <p:sldId id="310" r:id="rId20"/>
    <p:sldId id="319" r:id="rId21"/>
    <p:sldId id="320" r:id="rId22"/>
    <p:sldId id="307" r:id="rId23"/>
    <p:sldId id="321" r:id="rId24"/>
    <p:sldId id="313" r:id="rId25"/>
    <p:sldId id="312" r:id="rId26"/>
    <p:sldId id="314" r:id="rId27"/>
    <p:sldId id="324" r:id="rId28"/>
    <p:sldId id="256" r:id="rId29"/>
    <p:sldId id="267" r:id="rId30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A4CA5440-4614-4F22-BA68-77BB4C6739D5}">
          <p14:sldIdLst>
            <p14:sldId id="268"/>
            <p14:sldId id="291"/>
            <p14:sldId id="327"/>
            <p14:sldId id="281"/>
            <p14:sldId id="297"/>
            <p14:sldId id="317"/>
            <p14:sldId id="298"/>
            <p14:sldId id="300"/>
            <p14:sldId id="303"/>
            <p14:sldId id="299"/>
            <p14:sldId id="325"/>
            <p14:sldId id="326"/>
            <p14:sldId id="304"/>
            <p14:sldId id="305"/>
            <p14:sldId id="306"/>
            <p14:sldId id="318"/>
            <p14:sldId id="309"/>
            <p14:sldId id="322"/>
            <p14:sldId id="310"/>
            <p14:sldId id="319"/>
            <p14:sldId id="320"/>
            <p14:sldId id="307"/>
            <p14:sldId id="321"/>
            <p14:sldId id="313"/>
            <p14:sldId id="312"/>
            <p14:sldId id="314"/>
            <p14:sldId id="324"/>
            <p14:sldId id="256"/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100"/>
    <a:srgbClr val="2C7CC4"/>
    <a:srgbClr val="E41212"/>
    <a:srgbClr val="D01012"/>
    <a:srgbClr val="F0F0F0"/>
    <a:srgbClr val="FFFFFF"/>
    <a:srgbClr val="F5E467"/>
    <a:srgbClr val="980C0C"/>
    <a:srgbClr val="2089D0"/>
    <a:srgbClr val="B08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C2B1E3-3E17-44F0-8B7A-9E0928E1AB27}" v="516" dt="2024-09-26T08:53:10.5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2" autoAdjust="0"/>
    <p:restoredTop sz="94444" autoAdjust="0"/>
  </p:normalViewPr>
  <p:slideViewPr>
    <p:cSldViewPr snapToGrid="0" showGuides="1">
      <p:cViewPr varScale="1">
        <p:scale>
          <a:sx n="59" d="100"/>
          <a:sy n="59" d="100"/>
        </p:scale>
        <p:origin x="92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i Ivanov" userId="7e1b55540891ebeb" providerId="LiveId" clId="{FB9747C2-E790-457A-981D-44F4F47FC074}"/>
    <pc:docChg chg="undo redo custSel addSld delSld modSld sldOrd modSection">
      <pc:chgData name="Georgi Ivanov" userId="7e1b55540891ebeb" providerId="LiveId" clId="{FB9747C2-E790-457A-981D-44F4F47FC074}" dt="2024-09-22T18:14:45.988" v="352" actId="1076"/>
      <pc:docMkLst>
        <pc:docMk/>
      </pc:docMkLst>
      <pc:sldChg chg="del">
        <pc:chgData name="Georgi Ivanov" userId="7e1b55540891ebeb" providerId="LiveId" clId="{FB9747C2-E790-457A-981D-44F4F47FC074}" dt="2024-09-22T17:46:54.525" v="2" actId="47"/>
        <pc:sldMkLst>
          <pc:docMk/>
          <pc:sldMk cId="2972571144" sldId="25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767157536" sldId="258"/>
        </pc:sldMkLst>
      </pc:sldChg>
      <pc:sldChg chg="modSp mod">
        <pc:chgData name="Georgi Ivanov" userId="7e1b55540891ebeb" providerId="LiveId" clId="{FB9747C2-E790-457A-981D-44F4F47FC074}" dt="2024-09-22T17:50:50.720" v="14" actId="20577"/>
        <pc:sldMkLst>
          <pc:docMk/>
          <pc:sldMk cId="2762696595" sldId="262"/>
        </pc:sldMkLst>
        <pc:spChg chg="mod">
          <ac:chgData name="Georgi Ivanov" userId="7e1b55540891ebeb" providerId="LiveId" clId="{FB9747C2-E790-457A-981D-44F4F47FC074}" dt="2024-09-22T17:50:50.720" v="14" actId="20577"/>
          <ac:spMkLst>
            <pc:docMk/>
            <pc:sldMk cId="2762696595" sldId="262"/>
            <ac:spMk id="2" creationId="{2A983584-8125-433F-B7FD-A6330AFCE3EC}"/>
          </ac:spMkLst>
        </pc:sp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69339252" sldId="26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75837952" sldId="266"/>
        </pc:sldMkLst>
      </pc:sldChg>
      <pc:sldChg chg="ord">
        <pc:chgData name="Georgi Ivanov" userId="7e1b55540891ebeb" providerId="LiveId" clId="{FB9747C2-E790-457A-981D-44F4F47FC074}" dt="2024-09-22T17:47:08.800" v="6"/>
        <pc:sldMkLst>
          <pc:docMk/>
          <pc:sldMk cId="405277657" sldId="267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297189949" sldId="269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888177540" sldId="270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496456422" sldId="271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79238405" sldId="272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64263881" sldId="27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793408295" sldId="27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00953458" sldId="275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694337955" sldId="276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940358387" sldId="27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4192429" sldId="28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26790018" sldId="28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26873030" sldId="28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39416329" sldId="289"/>
        </pc:sldMkLst>
      </pc:sldChg>
      <pc:sldChg chg="ord">
        <pc:chgData name="Georgi Ivanov" userId="7e1b55540891ebeb" providerId="LiveId" clId="{FB9747C2-E790-457A-981D-44F4F47FC074}" dt="2024-09-22T17:47:00.564" v="4"/>
        <pc:sldMkLst>
          <pc:docMk/>
          <pc:sldMk cId="2511800391" sldId="291"/>
        </pc:sldMkLst>
      </pc:sldChg>
      <pc:sldChg chg="modSp mod">
        <pc:chgData name="Georgi Ivanov" userId="7e1b55540891ebeb" providerId="LiveId" clId="{FB9747C2-E790-457A-981D-44F4F47FC074}" dt="2024-09-22T18:06:50.352" v="293" actId="167"/>
        <pc:sldMkLst>
          <pc:docMk/>
          <pc:sldMk cId="1695139514" sldId="294"/>
        </pc:sldMkLst>
        <pc:picChg chg="mod ord">
          <ac:chgData name="Georgi Ivanov" userId="7e1b55540891ebeb" providerId="LiveId" clId="{FB9747C2-E790-457A-981D-44F4F47FC074}" dt="2024-09-22T18:06:50.352" v="293" actId="167"/>
          <ac:picMkLst>
            <pc:docMk/>
            <pc:sldMk cId="1695139514" sldId="294"/>
            <ac:picMk id="2" creationId="{B6A6D7E3-94FE-75D8-6E85-663E85C1C7FA}"/>
          </ac:picMkLst>
        </pc:picChg>
      </pc:sldChg>
      <pc:sldChg chg="addSp delSp modSp add mod">
        <pc:chgData name="Georgi Ivanov" userId="7e1b55540891ebeb" providerId="LiveId" clId="{FB9747C2-E790-457A-981D-44F4F47FC074}" dt="2024-09-22T18:14:45.988" v="352" actId="1076"/>
        <pc:sldMkLst>
          <pc:docMk/>
          <pc:sldMk cId="1032704305" sldId="297"/>
        </pc:sldMkLst>
        <pc:spChg chg="del">
          <ac:chgData name="Georgi Ivanov" userId="7e1b55540891ebeb" providerId="LiveId" clId="{FB9747C2-E790-457A-981D-44F4F47FC074}" dt="2024-09-22T17:52:30.139" v="31" actId="1032"/>
          <ac:spMkLst>
            <pc:docMk/>
            <pc:sldMk cId="1032704305" sldId="297"/>
            <ac:spMk id="3" creationId="{DECCB398-1B0C-6E46-E515-15AA78A5E5D7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6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7" creationId="{97B3DF85-3EE0-1BB6-5DCE-94D2AA7F01E8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0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1" creationId="{97B3DF85-3EE0-1BB6-5DCE-94D2AA7F01E8}"/>
          </ac:spMkLst>
        </pc:spChg>
        <pc:spChg chg="add mod">
          <ac:chgData name="Georgi Ivanov" userId="7e1b55540891ebeb" providerId="LiveId" clId="{FB9747C2-E790-457A-981D-44F4F47FC074}" dt="2024-09-22T18:14:13.136" v="346"/>
          <ac:spMkLst>
            <pc:docMk/>
            <pc:sldMk cId="1032704305" sldId="297"/>
            <ac:spMk id="13" creationId="{478944CB-2793-597E-F81D-CCEB0EE141BA}"/>
          </ac:spMkLst>
        </pc:spChg>
        <pc:spChg chg="add 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14" creationId="{26E775A1-4B8E-07F7-4E98-5DCED5B03C52}"/>
          </ac:spMkLst>
        </pc:spChg>
        <pc:spChg chg="mod">
          <ac:chgData name="Georgi Ivanov" userId="7e1b55540891ebeb" providerId="LiveId" clId="{FB9747C2-E790-457A-981D-44F4F47FC074}" dt="2024-09-22T18:14:43.193" v="351" actId="14100"/>
          <ac:spMkLst>
            <pc:docMk/>
            <pc:sldMk cId="1032704305" sldId="297"/>
            <ac:spMk id="17" creationId="{10A6EFB4-EB70-F5E7-71F2-602F7ADFAED0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0" creationId="{C87E9EF9-D2AC-BBA2-8F3F-627DAFEA432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1" creationId="{7E563941-AEF1-263A-29F9-4BD83D62DF14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2" creationId="{97B7D2A6-F712-93C4-A396-6C6897C36A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3" creationId="{9AAB2837-0538-4CA8-7281-362CD01B3E0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4" creationId="{E554DD74-B78B-FB28-F57B-11C7275B070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5" creationId="{5472C4A9-3314-DEF2-7678-C15121211BF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6" creationId="{A8B23927-3E0C-BA90-3B85-9DC543F031BB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7" creationId="{E8C34FE9-9932-4526-AB09-8642334A0E3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8" creationId="{72049148-93AD-E35E-29F8-793A216AF92F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9" creationId="{A2DACD6A-9953-7E8C-B27A-C43A9A68F322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0" creationId="{9AB09F63-EEA3-6C18-FE5C-B01E5B8E67E1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1" creationId="{1C717480-1896-E268-B2FE-918018F16CE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2" creationId="{3AF85582-ADA3-5AE1-12E3-D2DE3999319C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3" creationId="{7AA6BC08-875F-68CA-FBAA-4628E02CF5B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4" creationId="{F6C51207-39C7-1B17-2E5B-B4A5BF5BEA17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5" creationId="{DA631E0E-3EB6-3022-A547-27A8E9E08148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6" creationId="{05369B66-5C24-D858-CD2B-1C1146DE37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7" creationId="{3994FAE4-6FCC-35BD-05A7-2DDC50DA0634}"/>
          </ac:spMkLst>
        </pc:spChg>
        <pc:grpChg chg="add del mod">
          <ac:chgData name="Georgi Ivanov" userId="7e1b55540891ebeb" providerId="LiveId" clId="{FB9747C2-E790-457A-981D-44F4F47FC074}" dt="2024-09-22T18:11:09.187" v="322" actId="21"/>
          <ac:grpSpMkLst>
            <pc:docMk/>
            <pc:sldMk cId="1032704305" sldId="297"/>
            <ac:grpSpMk id="5" creationId="{9C2F4D9B-ADF3-DF3A-E112-A9E30F8567FC}"/>
          </ac:grpSpMkLst>
        </pc:grpChg>
        <pc:grpChg chg="add del mod">
          <ac:chgData name="Georgi Ivanov" userId="7e1b55540891ebeb" providerId="LiveId" clId="{FB9747C2-E790-457A-981D-44F4F47FC074}" dt="2024-09-22T18:11:52.954" v="331" actId="21"/>
          <ac:grpSpMkLst>
            <pc:docMk/>
            <pc:sldMk cId="1032704305" sldId="297"/>
            <ac:grpSpMk id="9" creationId="{9C2F4D9B-ADF3-DF3A-E112-A9E30F8567FC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15" creationId="{450915E9-3C95-311B-BFC4-43F8C1D6A9AA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38" creationId="{8C2D5996-3B9C-5C0A-3E22-785B111BDDDE}"/>
          </ac:grpSpMkLst>
        </pc:grpChg>
        <pc:graphicFrameChg chg="add mod modGraphic">
          <ac:chgData name="Georgi Ivanov" userId="7e1b55540891ebeb" providerId="LiveId" clId="{FB9747C2-E790-457A-981D-44F4F47FC074}" dt="2024-09-22T18:13:10.755" v="344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add del mod">
          <ac:chgData name="Georgi Ivanov" userId="7e1b55540891ebeb" providerId="LiveId" clId="{FB9747C2-E790-457A-981D-44F4F47FC074}" dt="2024-09-22T18:11:09.187" v="322" actId="21"/>
          <ac:picMkLst>
            <pc:docMk/>
            <pc:sldMk cId="1032704305" sldId="297"/>
            <ac:picMk id="8" creationId="{46CDE0A9-8289-2401-EED3-4A7A169BD774}"/>
          </ac:picMkLst>
        </pc:picChg>
        <pc:picChg chg="add mod">
          <ac:chgData name="Georgi Ivanov" userId="7e1b55540891ebeb" providerId="LiveId" clId="{FB9747C2-E790-457A-981D-44F4F47FC074}" dt="2024-09-22T18:13:33.956" v="345" actId="1076"/>
          <ac:picMkLst>
            <pc:docMk/>
            <pc:sldMk cId="1032704305" sldId="297"/>
            <ac:picMk id="12" creationId="{46CDE0A9-8289-2401-EED3-4A7A169BD774}"/>
          </ac:picMkLst>
        </pc:picChg>
      </pc:sldChg>
      <pc:sldChg chg="modSp add del mod">
        <pc:chgData name="Georgi Ivanov" userId="7e1b55540891ebeb" providerId="LiveId" clId="{FB9747C2-E790-457A-981D-44F4F47FC074}" dt="2024-09-22T17:51:07.598" v="23" actId="47"/>
        <pc:sldMkLst>
          <pc:docMk/>
          <pc:sldMk cId="1081392437" sldId="297"/>
        </pc:sldMkLst>
        <pc:spChg chg="mod">
          <ac:chgData name="Georgi Ivanov" userId="7e1b55540891ebeb" providerId="LiveId" clId="{FB9747C2-E790-457A-981D-44F4F47FC074}" dt="2024-09-22T17:51:05.652" v="22" actId="20577"/>
          <ac:spMkLst>
            <pc:docMk/>
            <pc:sldMk cId="1081392437" sldId="297"/>
            <ac:spMk id="2" creationId="{2A983584-8125-433F-B7FD-A6330AFCE3EC}"/>
          </ac:spMkLst>
        </pc:spChg>
      </pc:sldChg>
      <pc:sldChg chg="delSp add mod">
        <pc:chgData name="Georgi Ivanov" userId="7e1b55540891ebeb" providerId="LiveId" clId="{FB9747C2-E790-457A-981D-44F4F47FC074}" dt="2024-09-22T18:06:57.782" v="295" actId="478"/>
        <pc:sldMkLst>
          <pc:docMk/>
          <pc:sldMk cId="1139476994" sldId="298"/>
        </pc:sldMkLst>
        <pc:picChg chg="del">
          <ac:chgData name="Georgi Ivanov" userId="7e1b55540891ebeb" providerId="LiveId" clId="{FB9747C2-E790-457A-981D-44F4F47FC074}" dt="2024-09-22T18:06:57.782" v="295" actId="478"/>
          <ac:picMkLst>
            <pc:docMk/>
            <pc:sldMk cId="1139476994" sldId="298"/>
            <ac:picMk id="2" creationId="{B6A6D7E3-94FE-75D8-6E85-663E85C1C7FA}"/>
          </ac:picMkLst>
        </pc:pic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177802230" sldId="30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93883262" sldId="30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75824723" sldId="30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455894287" sldId="30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45036923" sldId="30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87138908" sldId="30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0186008" sldId="30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464503787" sldId="30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517399652" sldId="30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843314910" sldId="30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24750760" sldId="31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10778241" sldId="31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30417110" sldId="31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04406426" sldId="31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957644220" sldId="31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412054983" sldId="31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22607342" sldId="31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871289655" sldId="31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74343773" sldId="31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36617515" sldId="31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5610029" sldId="32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234220110" sldId="32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388848189" sldId="32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684043044" sldId="32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92860904" sldId="32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90452929" sldId="32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4452738" sldId="32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886274948" sldId="32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36128076" sldId="32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467638620" sldId="32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67743894" sldId="33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5726156" sldId="33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10541507" sldId="33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946740345" sldId="33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49620584" sldId="33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3606481872" sldId="335"/>
        </pc:sldMkLst>
      </pc:sldChg>
    </pc:docChg>
  </pc:docChgLst>
  <pc:docChgLst>
    <pc:chgData name="Georgi Ivanov" userId="7e1b55540891ebeb" providerId="LiveId" clId="{D5C2B1E3-3E17-44F0-8B7A-9E0928E1AB27}"/>
    <pc:docChg chg="undo redo custSel addSld delSld modSld sldOrd modSection">
      <pc:chgData name="Georgi Ivanov" userId="7e1b55540891ebeb" providerId="LiveId" clId="{D5C2B1E3-3E17-44F0-8B7A-9E0928E1AB27}" dt="2024-09-26T08:59:20.980" v="3424" actId="6549"/>
      <pc:docMkLst>
        <pc:docMk/>
      </pc:docMkLst>
      <pc:sldChg chg="addSp delSp modSp mod">
        <pc:chgData name="Georgi Ivanov" userId="7e1b55540891ebeb" providerId="LiveId" clId="{D5C2B1E3-3E17-44F0-8B7A-9E0928E1AB27}" dt="2024-09-26T08:19:18.550" v="2820" actId="20577"/>
        <pc:sldMkLst>
          <pc:docMk/>
          <pc:sldMk cId="1032704305" sldId="297"/>
        </pc:sldMkLst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5" creationId="{24B492A0-FD3F-36B9-39FB-67932D92E4BB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6" creationId="{F5E25F00-7B88-4DED-3AD7-F7C8FEF6E17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7" creationId="{0889F8CF-C4A4-F347-CAD2-E045D4E08DE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8" creationId="{D9AC259B-73CF-AC99-8D38-6C29A6410F8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9" creationId="{97207C70-82F6-E7BE-81E9-D5F1544DF4D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0" creationId="{6035C80B-BE96-168B-CD4F-DDF9B33498B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1" creationId="{42291865-0F0A-1DB5-DF94-357D3D7BA39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3" creationId="{424F7536-4E75-00F5-DCF3-5C88A07E4A67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39" creationId="{B7BE7A15-B099-E9DD-6C36-D39D63554798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0" creationId="{8EFFD26A-90D6-29C4-492C-2BBE2E4B6FA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1" creationId="{4B761115-8A5E-CE73-1794-43E3C3D62A6A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2" creationId="{EA02C5EE-F28C-444B-3297-08893F053F4F}"/>
          </ac:spMkLst>
        </pc:spChg>
        <pc:spChg chg="add del mod">
          <ac:chgData name="Georgi Ivanov" userId="7e1b55540891ebeb" providerId="LiveId" clId="{D5C2B1E3-3E17-44F0-8B7A-9E0928E1AB27}" dt="2024-09-26T07:35:24.344" v="1972" actId="478"/>
          <ac:spMkLst>
            <pc:docMk/>
            <pc:sldMk cId="1032704305" sldId="297"/>
            <ac:spMk id="43" creationId="{76E0A628-9FE2-3267-58F9-7CAD79A33E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49" creationId="{2C1B3D7B-655C-505B-3771-ED294195F01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0" creationId="{F04A52E3-A26A-118B-1DBD-B025CF96245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1" creationId="{9E0D1AFF-091E-9ABF-C7DD-1FB6D01CB6E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2" creationId="{6FE07C4D-4D77-1E85-08EF-AE874B918CC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3" creationId="{D9495E1A-C122-5208-8D86-47B49CD3B9F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4" creationId="{9605AEAF-B92B-3A1E-59D2-76D1DE634A8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5" creationId="{3D40BEAA-E280-4FD1-A9B7-B1661EFD9A7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6" creationId="{E3002C47-369A-2AB7-FD92-7796E9EF68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7" creationId="{3C96B218-236B-F0B7-5537-2EAA3E50E99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8" creationId="{11FA44DF-68C3-09CE-795D-B2C199072D3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9" creationId="{775590A0-60A0-618F-F223-B3E9FADF021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0" creationId="{1C716079-E631-5A18-E442-2E2E46652EA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1" creationId="{42B14076-34DC-30DD-14BA-7F2BEAAC600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2" creationId="{8F529D3A-31B5-AB98-C792-A60676C7F75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3" creationId="{E492A5FF-BCAC-3079-908F-98975E27253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2" creationId="{D87342C4-037A-2923-035C-3070793724F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3" creationId="{055DFD79-41B6-35D8-7DCF-69F07815C4C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5" creationId="{A072A0F2-15BA-1D76-1F10-856C6193F65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6" creationId="{9C02ABDF-D333-078C-1F41-924F324B426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7" creationId="{0A7E4875-BFEC-95B3-447D-240124CDDE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8" creationId="{D9192205-23A9-6951-2B85-C2D03FF0789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9" creationId="{1507A870-749C-DE2C-78B0-BA65FE5C240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0" creationId="{8F5FB2C2-68D2-D646-C8D0-9BF734FC1BE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1" creationId="{B6E83213-DB16-C652-BCC7-F9E732F2462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2" creationId="{C9801307-6036-E600-B765-A79961F60BA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3" creationId="{6FD047F2-9050-18F0-DFA4-4ECCB68B02F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4" creationId="{4A0F0789-0468-2FD8-18CD-EA2C1625896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5" creationId="{BCFD928A-D42A-6BF0-E4F7-077A875156F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6" creationId="{729AF252-A3E8-D9ED-25D9-E08951C9DDF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7" creationId="{86E79531-D9D8-4BCC-5CDD-4576ABD91C7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0" creationId="{51273389-246B-3F5C-25DC-61AB9EE5222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1" creationId="{E5DCA617-CA05-B5E0-E349-5E88964898D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2" creationId="{1DFD0E52-DA59-3F35-6D89-5BD184CE391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3" creationId="{5BD69C82-C238-767C-7B14-9D619CC0D70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4" creationId="{4EA4B070-0DDD-13AC-0779-50F20479524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5" creationId="{72CD3FD2-53CA-AE41-F3CE-29CCE6F4B3EE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6" creationId="{A20D6D87-0CA6-7795-2EAF-84EAF849822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7" creationId="{BE3459AC-11C8-CCF1-D407-13D721F17D5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8" creationId="{BA5D6B3B-56EE-87F5-27A8-5AC5305A0CD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9" creationId="{869B85B7-A156-DAA2-5383-8BA8BA534F22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0" creationId="{DF0C8752-3A85-509A-85A9-1154FA48B5E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1" creationId="{3C37A72B-C3E4-DFD3-3C3E-AA88D340D0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2" creationId="{05776527-7BEE-54C3-457F-1D6B18AF484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3" creationId="{CB6E4526-9976-242D-3FAB-EB4D8ABB3EB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4" creationId="{CFB00F70-DD62-D18B-4DD6-0C25EB71A60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5" creationId="{CFA93255-ABB8-B932-8726-428DCB41C35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6" creationId="{3C266DF4-E367-275E-3F5F-FACFC66E90A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7" creationId="{57F307B4-355A-870E-D099-D57D4F7C563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8" creationId="{97498E17-E377-6C56-8FE8-03BF7870A15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9" creationId="{2FA34EB4-F057-71E3-E1B2-AFD912FDBCC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0" creationId="{8EF9AB3F-BA78-3432-15DD-FFE30E0130A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1" creationId="{E4A8921D-EF58-7F52-5711-DC7183C71A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2" creationId="{02FE5C66-2807-AFB9-B27B-23729B6EE4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3" creationId="{C0A8FEAA-1726-3746-9BA7-766EAD0C75B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4" creationId="{C5331B6A-0773-631B-5017-4933DD0BA26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5" creationId="{EE86B0F8-C0F0-0A72-8562-6DC6CE57AC1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6" creationId="{E1316FE5-2968-5B5D-53B9-B96F926DF48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7" creationId="{9F28CA38-E999-5626-C78D-04585F44A7D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8" creationId="{FA2FA893-FF7C-7AD0-80E2-A2F92E7CA9E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9" creationId="{277B852D-45F5-068E-00A7-5986E1A579A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5" creationId="{551BF171-59C0-C1F6-6BF4-B8F27446263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6" creationId="{C8479226-552F-F061-ABDE-C9E866686F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7" creationId="{821832C9-B754-FB7C-A3E5-34C66C1814A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8" creationId="{81EF5056-4121-55AC-36B1-9D91E105AE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9" creationId="{069409FA-754F-527B-842F-087A6CA664F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0" creationId="{7A42ECA8-C23C-4482-92A3-248B4331F3E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1" creationId="{21717CEA-FAF8-C763-C374-163BF2AE2B4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2" creationId="{71FA8084-9455-C8DA-7FA3-B90B8ADACE3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3" creationId="{6633F4E6-9EB9-48CA-FD0C-1901B8F6F89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4" creationId="{06297EC2-2853-F232-228F-0F30EACCC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5" creationId="{14C55BD8-663C-A37C-9408-8E0AA36708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6" creationId="{9AFE6CEE-D9FC-A4A6-B3E1-CE4551C8DFC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7" creationId="{451A224B-5D8D-C0E7-D454-D7F800368FA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8" creationId="{A17B595B-AC01-A47E-5ACE-6C7BE119CB3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9" creationId="{B74AF1B6-435C-0FE8-254B-37440D95351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0" creationId="{B5A63D59-2BD5-4198-9B0E-A8C76E34E81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1" creationId="{DDDEA0B9-8F20-D825-3457-20CDC22787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2" creationId="{7C2F4AAE-0BE0-D25B-F014-FA1F75B3A40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3" creationId="{93D24373-CF19-F91C-0EFF-9BDDAEB3B60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4" creationId="{B0AE914A-F03F-6CA4-E48C-23F6BC9EB5B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5" creationId="{C9F95B4D-1591-E291-0369-8176A5DA9AA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6" creationId="{43CD338B-C136-CF84-2D08-45ADD8083F7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7" creationId="{259293A3-DD92-2533-1812-84D4239ECE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8" creationId="{5D3E985D-B381-B6AA-FD04-C3B8D47DEB2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9" creationId="{FD60DE0F-D7CC-37DB-B83E-E312B3C95C0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0" creationId="{23767E40-0BCD-A118-B6F1-3584C1D59E9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1" creationId="{7F2ED990-8612-E0C8-53A7-CDB3D3204D0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2" creationId="{24828674-5384-EC8D-2B24-DBB29C7DFAA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3" creationId="{E1D4AD92-2554-68C7-7505-D2361F7F460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4" creationId="{167B88E4-62ED-B48F-BE7C-141B6F986A4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7" creationId="{6FAB6C8D-9D38-E3FD-187F-A83332E84BE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8" creationId="{B3EEE24B-34C9-94CA-03BD-1CB71200D6C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9" creationId="{BE695471-1D6A-F755-2575-7766E051F6D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0" creationId="{049A131A-6936-21D2-389A-B8F7F11739C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1" creationId="{17FF785A-7B81-64A3-C5B7-7B98EB44BE4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2" creationId="{219ABB09-6ECB-F37C-2A97-FB346F859E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3" creationId="{B6EA70EC-7BAC-101A-3B50-ECCC6FB667F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4" creationId="{00D236E3-6F57-33D6-40E8-8A3504DA2C3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5" creationId="{1A5949F4-CEBC-4652-6C39-0CAD2554F14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6" creationId="{A0DA777F-EC1F-DC46-1742-A0BF60A20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7" creationId="{6ADF7658-1BE9-7B0A-DCF1-7CF0DD3EF1C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8" creationId="{BE30EA58-7594-35DD-F253-864205957A3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9" creationId="{0C6B33A2-2C8C-7D63-A432-53D4745AEBA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0" creationId="{9CB4D371-A6D5-1F91-3DB6-7A0D693EFB4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1" creationId="{93CA8641-355C-A3B1-0A9E-4CC95285045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2" creationId="{74BFB69B-7DFA-C43D-C5FA-8C4A32D657E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3" creationId="{4CD47D3E-5EA6-20A2-749E-47CC04772D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4" creationId="{BE8E75BD-A368-6EB4-8B39-54D32719F57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5" creationId="{C83F3DAC-3A3F-EB9D-844F-5538490A721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6" creationId="{8E79F599-2098-96F8-C821-3B73900967A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7" creationId="{7EEF703C-E26F-DF53-50B8-3DAD3C7ECAE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8" creationId="{967551DD-8141-8047-97F8-81F53AADFE3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9" creationId="{864F5D4D-1C54-2371-C49C-20B1A183751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0" creationId="{DA6B407F-CD38-4ED6-0F84-30A2929A9DA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1" creationId="{6CAEE2C4-E2EE-71D0-1E34-28C405E46ED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2" creationId="{FC5A0B3E-3067-6B75-F7D0-335FD4B6FDE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3" creationId="{B1CCE4CD-4258-4389-851C-3AB818ADE7A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4" creationId="{2A530A3D-1A8D-A493-1CB7-E9400151122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5" creationId="{69D27F10-49E0-76D4-EDA4-5AC747C6617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6" creationId="{3D0B41B2-E61D-E7FE-FB3F-8351269A0304}"/>
          </ac:spMkLst>
        </pc:spChg>
        <pc:grpChg chg="add del mod">
          <ac:chgData name="Georgi Ivanov" userId="7e1b55540891ebeb" providerId="LiveId" clId="{D5C2B1E3-3E17-44F0-8B7A-9E0928E1AB27}" dt="2024-09-25T13:24:12.173" v="1516" actId="478"/>
          <ac:grpSpMkLst>
            <pc:docMk/>
            <pc:sldMk cId="1032704305" sldId="297"/>
            <ac:grpSpMk id="3" creationId="{B3D76D2B-918D-C48D-6D96-F32BA16C7C12}"/>
          </ac:grpSpMkLst>
        </pc:grpChg>
        <pc:grpChg chg="add 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4" creationId="{9B01171B-0EEB-4D5C-7476-CA8114202676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5" creationId="{E5482315-8100-CE15-DA46-23E85F8E7203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6" creationId="{69FC1C75-B77A-88C5-E28B-FEFDB863915D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7" creationId="{B906C5D9-D832-1C12-BC5C-A9CA5BE302F9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8" creationId="{C3CFF5B1-21BD-3E95-9DFD-F6F471DF6E28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8" creationId="{EB2A2DD4-4D47-6D23-5F5D-D3799F39356B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9" creationId="{AF2FBCBE-EA16-7E0D-4F05-7EF807C637BD}"/>
          </ac:grpSpMkLst>
        </pc:grpChg>
        <pc:grpChg chg="add mod">
          <ac:chgData name="Georgi Ivanov" userId="7e1b55540891ebeb" providerId="LiveId" clId="{D5C2B1E3-3E17-44F0-8B7A-9E0928E1AB27}" dt="2024-09-25T13:33:00.164" v="1651" actId="14100"/>
          <ac:grpSpMkLst>
            <pc:docMk/>
            <pc:sldMk cId="1032704305" sldId="297"/>
            <ac:grpSpMk id="3120" creationId="{E5B9C441-B93D-CA61-5CBA-D95F7A4B4517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1" creationId="{B34F0793-F582-7F88-5C83-6D8B990F7EC1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2" creationId="{B70033AD-FC9D-AF67-4E45-F1C2E890C5D3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3" creationId="{68CF4F81-8783-B40B-95C2-2B66745DC660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4" creationId="{ED5137E6-67ED-D52A-36ED-498A10B18152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5" creationId="{3E0CA691-7EC2-7ABF-C958-93E20ABA0B6D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6" creationId="{50D4D640-B6B5-E04D-D2C5-C16D1DCEE08D}"/>
          </ac:grpSpMkLst>
        </pc:grpChg>
        <pc:graphicFrameChg chg="mod">
          <ac:chgData name="Georgi Ivanov" userId="7e1b55540891ebeb" providerId="LiveId" clId="{D5C2B1E3-3E17-44F0-8B7A-9E0928E1AB27}" dt="2024-09-26T08:19:18.550" v="2820" actId="20577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mod">
          <ac:chgData name="Georgi Ivanov" userId="7e1b55540891ebeb" providerId="LiveId" clId="{D5C2B1E3-3E17-44F0-8B7A-9E0928E1AB27}" dt="2024-09-24T18:42:12.208" v="107" actId="1076"/>
          <ac:picMkLst>
            <pc:docMk/>
            <pc:sldMk cId="1032704305" sldId="297"/>
            <ac:picMk id="12" creationId="{46CDE0A9-8289-2401-EED3-4A7A169BD774}"/>
          </ac:picMkLst>
        </pc:picChg>
        <pc:picChg chg="add mod">
          <ac:chgData name="Georgi Ivanov" userId="7e1b55540891ebeb" providerId="LiveId" clId="{D5C2B1E3-3E17-44F0-8B7A-9E0928E1AB27}" dt="2024-09-25T13:24:14.678" v="1517" actId="1076"/>
          <ac:picMkLst>
            <pc:docMk/>
            <pc:sldMk cId="1032704305" sldId="297"/>
            <ac:picMk id="3074" creationId="{4121E792-6E9C-7E3E-2924-F3B9F4387A67}"/>
          </ac:picMkLst>
        </pc:picChg>
      </pc:sldChg>
      <pc:sldChg chg="del">
        <pc:chgData name="Georgi Ivanov" userId="7e1b55540891ebeb" providerId="LiveId" clId="{D5C2B1E3-3E17-44F0-8B7A-9E0928E1AB27}" dt="2024-09-24T18:36:37.685" v="0" actId="47"/>
        <pc:sldMkLst>
          <pc:docMk/>
          <pc:sldMk cId="1139476994" sldId="298"/>
        </pc:sldMkLst>
      </pc:sldChg>
      <pc:sldChg chg="addSp delSp modSp add mod">
        <pc:chgData name="Georgi Ivanov" userId="7e1b55540891ebeb" providerId="LiveId" clId="{D5C2B1E3-3E17-44F0-8B7A-9E0928E1AB27}" dt="2024-09-24T18:57:07.388" v="514" actId="5793"/>
        <pc:sldMkLst>
          <pc:docMk/>
          <pc:sldMk cId="1972383463" sldId="298"/>
        </pc:sldMkLst>
        <pc:spChg chg="mod">
          <ac:chgData name="Georgi Ivanov" userId="7e1b55540891ebeb" providerId="LiveId" clId="{D5C2B1E3-3E17-44F0-8B7A-9E0928E1AB27}" dt="2024-09-24T18:39:40.140" v="79" actId="20577"/>
          <ac:spMkLst>
            <pc:docMk/>
            <pc:sldMk cId="1972383463" sldId="298"/>
            <ac:spMk id="2" creationId="{65A1F34D-EB98-4CAD-A1DE-7AC573B109A0}"/>
          </ac:spMkLst>
        </pc:spChg>
        <pc:spChg chg="add del mod">
          <ac:chgData name="Georgi Ivanov" userId="7e1b55540891ebeb" providerId="LiveId" clId="{D5C2B1E3-3E17-44F0-8B7A-9E0928E1AB27}" dt="2024-09-24T18:40:51.007" v="93" actId="478"/>
          <ac:spMkLst>
            <pc:docMk/>
            <pc:sldMk cId="1972383463" sldId="298"/>
            <ac:spMk id="3" creationId="{DF78BEF8-1AE8-0C39-D12A-C4BE103D617F}"/>
          </ac:spMkLst>
        </pc:spChg>
        <pc:spChg chg="add mod">
          <ac:chgData name="Georgi Ivanov" userId="7e1b55540891ebeb" providerId="LiveId" clId="{D5C2B1E3-3E17-44F0-8B7A-9E0928E1AB27}" dt="2024-09-24T18:57:07.388" v="514" actId="5793"/>
          <ac:spMkLst>
            <pc:docMk/>
            <pc:sldMk cId="1972383463" sldId="298"/>
            <ac:spMk id="7" creationId="{203753DF-B9CD-6766-A941-CC078E8576E8}"/>
          </ac:spMkLst>
        </pc:spChg>
        <pc:spChg chg="mod">
          <ac:chgData name="Georgi Ivanov" userId="7e1b55540891ebeb" providerId="LiveId" clId="{D5C2B1E3-3E17-44F0-8B7A-9E0928E1AB27}" dt="2024-09-24T18:57:00.894" v="510" actId="1076"/>
          <ac:spMkLst>
            <pc:docMk/>
            <pc:sldMk cId="1972383463" sldId="298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4T18:55:57.532" v="465" actId="1076"/>
          <ac:spMkLst>
            <pc:docMk/>
            <pc:sldMk cId="1972383463" sldId="298"/>
            <ac:spMk id="77" creationId="{6FF0B403-FADC-424A-A227-59D6B88F2456}"/>
          </ac:spMkLst>
        </pc:spChg>
        <pc:picChg chg="add mod">
          <ac:chgData name="Georgi Ivanov" userId="7e1b55540891ebeb" providerId="LiveId" clId="{D5C2B1E3-3E17-44F0-8B7A-9E0928E1AB27}" dt="2024-09-24T18:42:49.713" v="113" actId="1076"/>
          <ac:picMkLst>
            <pc:docMk/>
            <pc:sldMk cId="1972383463" sldId="298"/>
            <ac:picMk id="4" creationId="{A482FC57-17D3-3A23-46A2-1257FC345C5A}"/>
          </ac:picMkLst>
        </pc:picChg>
        <pc:picChg chg="del">
          <ac:chgData name="Georgi Ivanov" userId="7e1b55540891ebeb" providerId="LiveId" clId="{D5C2B1E3-3E17-44F0-8B7A-9E0928E1AB27}" dt="2024-09-24T18:42:36.498" v="111" actId="478"/>
          <ac:picMkLst>
            <pc:docMk/>
            <pc:sldMk cId="1972383463" sldId="298"/>
            <ac:picMk id="5" creationId="{8592CCF3-91E5-7807-DCC8-A2E49E6CA0ED}"/>
          </ac:picMkLst>
        </pc:picChg>
      </pc:sldChg>
      <pc:sldChg chg="addSp delSp modSp new mod">
        <pc:chgData name="Georgi Ivanov" userId="7e1b55540891ebeb" providerId="LiveId" clId="{D5C2B1E3-3E17-44F0-8B7A-9E0928E1AB27}" dt="2024-09-25T12:59:15.732" v="1114" actId="20577"/>
        <pc:sldMkLst>
          <pc:docMk/>
          <pc:sldMk cId="1322531086" sldId="299"/>
        </pc:sldMkLst>
        <pc:spChg chg="mod">
          <ac:chgData name="Georgi Ivanov" userId="7e1b55540891ebeb" providerId="LiveId" clId="{D5C2B1E3-3E17-44F0-8B7A-9E0928E1AB27}" dt="2024-09-25T12:59:15.732" v="1114" actId="20577"/>
          <ac:spMkLst>
            <pc:docMk/>
            <pc:sldMk cId="1322531086" sldId="29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4T19:06:39.782" v="639" actId="20577"/>
          <ac:spMkLst>
            <pc:docMk/>
            <pc:sldMk cId="1322531086" sldId="299"/>
            <ac:spMk id="3" creationId="{E3616238-46A4-D94F-D84B-7DE0BA6D908A}"/>
          </ac:spMkLst>
        </pc:spChg>
        <pc:spChg chg="mod">
          <ac:chgData name="Georgi Ivanov" userId="7e1b55540891ebeb" providerId="LiveId" clId="{D5C2B1E3-3E17-44F0-8B7A-9E0928E1AB27}" dt="2024-09-24T18:52:28.581" v="448" actId="12789"/>
          <ac:spMkLst>
            <pc:docMk/>
            <pc:sldMk cId="1322531086" sldId="299"/>
            <ac:spMk id="4" creationId="{E3D17250-7924-92B4-E7B0-8FEB3F9B0CAF}"/>
          </ac:spMkLst>
        </pc:spChg>
        <pc:spChg chg="add del mod">
          <ac:chgData name="Georgi Ivanov" userId="7e1b55540891ebeb" providerId="LiveId" clId="{D5C2B1E3-3E17-44F0-8B7A-9E0928E1AB27}" dt="2024-09-25T12:50:01.761" v="984" actId="21"/>
          <ac:spMkLst>
            <pc:docMk/>
            <pc:sldMk cId="1322531086" sldId="299"/>
            <ac:spMk id="5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4T19:50:23.160" v="771" actId="1076"/>
          <ac:spMkLst>
            <pc:docMk/>
            <pc:sldMk cId="1322531086" sldId="299"/>
            <ac:spMk id="6" creationId="{E0AAB136-8414-6A21-03A5-A9548743C734}"/>
          </ac:spMkLst>
        </pc:spChg>
        <pc:spChg chg="add mod">
          <ac:chgData name="Georgi Ivanov" userId="7e1b55540891ebeb" providerId="LiveId" clId="{D5C2B1E3-3E17-44F0-8B7A-9E0928E1AB27}" dt="2024-09-24T19:33:31.025" v="734" actId="6549"/>
          <ac:spMkLst>
            <pc:docMk/>
            <pc:sldMk cId="1322531086" sldId="299"/>
            <ac:spMk id="7" creationId="{0EAB7573-B6B5-D04C-1A8F-E527D8F51F82}"/>
          </ac:spMkLst>
        </pc:spChg>
        <pc:spChg chg="add del">
          <ac:chgData name="Georgi Ivanov" userId="7e1b55540891ebeb" providerId="LiveId" clId="{D5C2B1E3-3E17-44F0-8B7A-9E0928E1AB27}" dt="2024-09-24T19:46:38.806" v="736" actId="22"/>
          <ac:spMkLst>
            <pc:docMk/>
            <pc:sldMk cId="1322531086" sldId="299"/>
            <ac:spMk id="9" creationId="{B24FD02B-4F29-0EA3-AD6C-5F417AB3B40E}"/>
          </ac:spMkLst>
        </pc:spChg>
        <pc:spChg chg="add del">
          <ac:chgData name="Georgi Ivanov" userId="7e1b55540891ebeb" providerId="LiveId" clId="{D5C2B1E3-3E17-44F0-8B7A-9E0928E1AB27}" dt="2024-09-24T19:51:22.127" v="773" actId="22"/>
          <ac:spMkLst>
            <pc:docMk/>
            <pc:sldMk cId="1322531086" sldId="299"/>
            <ac:spMk id="17" creationId="{266CA697-B432-50B5-DA45-1016A9EFCA8B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1" creationId="{DFAA174B-D86D-CB71-8474-05896214345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2" creationId="{26F7D1A0-3274-8ABA-D246-E1539E24FB34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3" creationId="{417CB08D-1D2C-CBEC-C938-11198D2988BF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4" creationId="{42BA0335-7FA1-CCF5-A811-8E2896777CB5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5" creationId="{9E14F7A9-FF4E-923B-CC01-366CF7C4F68A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6" creationId="{CD717686-6202-05FF-4B52-904115112C49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7" creationId="{8AC21C32-2DD1-16D1-1025-F2EC1C8357E1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8" creationId="{1613C157-D8CE-9749-A33E-D96220E943B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9" creationId="{D9785239-7A2E-8D68-A9E9-070996E363E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0" creationId="{20632001-33D8-773F-CC40-2E529DB4BBC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1" creationId="{AC113E9B-40A8-41F9-4C4A-E3D0213A5B42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2" creationId="{BA949E1E-44DE-FF08-7484-AF6CD01B3F54}"/>
          </ac:spMkLst>
        </pc:spChg>
        <pc:spChg chg="add mod">
          <ac:chgData name="Georgi Ivanov" userId="7e1b55540891ebeb" providerId="LiveId" clId="{D5C2B1E3-3E17-44F0-8B7A-9E0928E1AB27}" dt="2024-09-24T20:05:26.341" v="807"/>
          <ac:spMkLst>
            <pc:docMk/>
            <pc:sldMk cId="1322531086" sldId="299"/>
            <ac:spMk id="33" creationId="{53478140-8BE6-5525-DF07-9358650A627B}"/>
          </ac:spMkLst>
        </pc:spChg>
        <pc:grpChg chg="add mod">
          <ac:chgData name="Georgi Ivanov" userId="7e1b55540891ebeb" providerId="LiveId" clId="{D5C2B1E3-3E17-44F0-8B7A-9E0928E1AB27}" dt="2024-09-24T19:49:32.188" v="753" actId="1076"/>
          <ac:grpSpMkLst>
            <pc:docMk/>
            <pc:sldMk cId="1322531086" sldId="299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4T20:00:40.221" v="791" actId="478"/>
          <ac:grpSpMkLst>
            <pc:docMk/>
            <pc:sldMk cId="1322531086" sldId="299"/>
            <ac:grpSpMk id="20" creationId="{01DC1732-6B53-A4AF-3C10-E610157359A1}"/>
          </ac:grpSpMkLst>
        </pc:grpChg>
        <pc:picChg chg="add del mod">
          <ac:chgData name="Georgi Ivanov" userId="7e1b55540891ebeb" providerId="LiveId" clId="{D5C2B1E3-3E17-44F0-8B7A-9E0928E1AB27}" dt="2024-09-24T19:48:48.462" v="743" actId="478"/>
          <ac:picMkLst>
            <pc:docMk/>
            <pc:sldMk cId="1322531086" sldId="299"/>
            <ac:picMk id="11" creationId="{F0A23456-3AD1-96C9-533A-97B5E63B2EE5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2" creationId="{219DB6DD-594A-8956-2C7D-A848844A957E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3" creationId="{91F8EF9C-1BEE-8152-85FD-C1F244475C3E}"/>
          </ac:picMkLst>
        </pc:picChg>
        <pc:picChg chg="add mod">
          <ac:chgData name="Georgi Ivanov" userId="7e1b55540891ebeb" providerId="LiveId" clId="{D5C2B1E3-3E17-44F0-8B7A-9E0928E1AB27}" dt="2024-09-24T20:01:52.226" v="796" actId="1076"/>
          <ac:picMkLst>
            <pc:docMk/>
            <pc:sldMk cId="1322531086" sldId="299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4T19:58:12.837" v="777" actId="478"/>
          <ac:picMkLst>
            <pc:docMk/>
            <pc:sldMk cId="1322531086" sldId="299"/>
            <ac:picMk id="19" creationId="{CC40F95A-8B2A-6FE9-C5F7-BF3D7CD73F0A}"/>
          </ac:picMkLst>
        </pc:picChg>
        <pc:picChg chg="add mod">
          <ac:chgData name="Georgi Ivanov" userId="7e1b55540891ebeb" providerId="LiveId" clId="{D5C2B1E3-3E17-44F0-8B7A-9E0928E1AB27}" dt="2024-09-24T20:01:39.224" v="794" actId="1076"/>
          <ac:picMkLst>
            <pc:docMk/>
            <pc:sldMk cId="1322531086" sldId="299"/>
            <ac:picMk id="1026" creationId="{1F45828B-8F5C-FF73-3C4B-A998B8DACFCB}"/>
          </ac:picMkLst>
        </pc:picChg>
        <pc:picChg chg="add mod">
          <ac:chgData name="Georgi Ivanov" userId="7e1b55540891ebeb" providerId="LiveId" clId="{D5C2B1E3-3E17-44F0-8B7A-9E0928E1AB27}" dt="2024-09-24T20:01:44.805" v="795" actId="1076"/>
          <ac:picMkLst>
            <pc:docMk/>
            <pc:sldMk cId="1322531086" sldId="299"/>
            <ac:picMk id="1028" creationId="{037AAB4F-B00B-7F7E-8EB1-FE647FD6520B}"/>
          </ac:picMkLst>
        </pc:picChg>
      </pc:sldChg>
      <pc:sldChg chg="addSp delSp modSp add mod">
        <pc:chgData name="Georgi Ivanov" userId="7e1b55540891ebeb" providerId="LiveId" clId="{D5C2B1E3-3E17-44F0-8B7A-9E0928E1AB27}" dt="2024-09-25T12:58:22.821" v="1100" actId="113"/>
        <pc:sldMkLst>
          <pc:docMk/>
          <pc:sldMk cId="2681470774" sldId="300"/>
        </pc:sldMkLst>
        <pc:spChg chg="mod">
          <ac:chgData name="Georgi Ivanov" userId="7e1b55540891ebeb" providerId="LiveId" clId="{D5C2B1E3-3E17-44F0-8B7A-9E0928E1AB27}" dt="2024-09-25T12:47:33.488" v="932" actId="20577"/>
          <ac:spMkLst>
            <pc:docMk/>
            <pc:sldMk cId="2681470774" sldId="30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2:58:22.821" v="1100" actId="113"/>
          <ac:spMkLst>
            <pc:docMk/>
            <pc:sldMk cId="2681470774" sldId="300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5" creationId="{C2FC9430-89FA-B6F5-FF73-09BF4CD95552}"/>
          </ac:spMkLst>
        </pc:spChg>
        <pc:spChg chg="del mod topLvl">
          <ac:chgData name="Georgi Ivanov" userId="7e1b55540891ebeb" providerId="LiveId" clId="{D5C2B1E3-3E17-44F0-8B7A-9E0928E1AB27}" dt="2024-09-25T12:54:47.751" v="1034" actId="478"/>
          <ac:spMkLst>
            <pc:docMk/>
            <pc:sldMk cId="2681470774" sldId="300"/>
            <ac:spMk id="6" creationId="{E0AAB136-8414-6A21-03A5-A9548743C734}"/>
          </ac:spMkLst>
        </pc:spChg>
        <pc:spChg chg="add del mod topLvl">
          <ac:chgData name="Georgi Ivanov" userId="7e1b55540891ebeb" providerId="LiveId" clId="{D5C2B1E3-3E17-44F0-8B7A-9E0928E1AB27}" dt="2024-09-25T12:54:30.323" v="1031" actId="478"/>
          <ac:spMkLst>
            <pc:docMk/>
            <pc:sldMk cId="2681470774" sldId="300"/>
            <ac:spMk id="7" creationId="{0EAB7573-B6B5-D04C-1A8F-E527D8F51F82}"/>
          </ac:spMkLst>
        </pc:spChg>
        <pc:spChg chg="add mod">
          <ac:chgData name="Georgi Ivanov" userId="7e1b55540891ebeb" providerId="LiveId" clId="{D5C2B1E3-3E17-44F0-8B7A-9E0928E1AB27}" dt="2024-09-25T12:55:46.354" v="1055" actId="1076"/>
          <ac:spMkLst>
            <pc:docMk/>
            <pc:sldMk cId="2681470774" sldId="300"/>
            <ac:spMk id="10" creationId="{39C09223-D36A-E074-1AA6-0CB54D96C302}"/>
          </ac:spMkLst>
        </pc:spChg>
        <pc:spChg chg="add mod">
          <ac:chgData name="Georgi Ivanov" userId="7e1b55540891ebeb" providerId="LiveId" clId="{D5C2B1E3-3E17-44F0-8B7A-9E0928E1AB27}" dt="2024-09-25T12:56:30.169" v="1074" actId="1076"/>
          <ac:spMkLst>
            <pc:docMk/>
            <pc:sldMk cId="2681470774" sldId="300"/>
            <ac:spMk id="11" creationId="{39CEC175-E2F9-A40F-65CB-92B68AEF21E7}"/>
          </ac:spMkLst>
        </pc:spChg>
        <pc:spChg chg="add mod">
          <ac:chgData name="Georgi Ivanov" userId="7e1b55540891ebeb" providerId="LiveId" clId="{D5C2B1E3-3E17-44F0-8B7A-9E0928E1AB27}" dt="2024-09-25T12:55:33.681" v="1052" actId="20577"/>
          <ac:spMkLst>
            <pc:docMk/>
            <pc:sldMk cId="2681470774" sldId="300"/>
            <ac:spMk id="16" creationId="{E970DDF6-1DAA-110B-AD62-F1DB1D9FB745}"/>
          </ac:spMkLst>
        </pc:spChg>
        <pc:spChg chg="add mod">
          <ac:chgData name="Georgi Ivanov" userId="7e1b55540891ebeb" providerId="LiveId" clId="{D5C2B1E3-3E17-44F0-8B7A-9E0928E1AB27}" dt="2024-09-25T12:50:16.899" v="987" actId="1076"/>
          <ac:spMkLst>
            <pc:docMk/>
            <pc:sldMk cId="2681470774" sldId="300"/>
            <ac:spMk id="18" creationId="{4804B82E-E9C1-DD3E-AEBA-9A64F4356BD5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19" creationId="{4BBAE00B-5B22-3315-FC13-44FF9745CE42}"/>
          </ac:spMkLst>
        </pc:spChg>
        <pc:spChg chg="add del mod">
          <ac:chgData name="Georgi Ivanov" userId="7e1b55540891ebeb" providerId="LiveId" clId="{D5C2B1E3-3E17-44F0-8B7A-9E0928E1AB27}" dt="2024-09-25T12:50:25.891" v="989" actId="478"/>
          <ac:spMkLst>
            <pc:docMk/>
            <pc:sldMk cId="2681470774" sldId="300"/>
            <ac:spMk id="20" creationId="{865F0DF2-FD5A-9B32-0D1E-9A7609A07D44}"/>
          </ac:spMkLst>
        </pc:spChg>
        <pc:spChg chg="add del mod">
          <ac:chgData name="Georgi Ivanov" userId="7e1b55540891ebeb" providerId="LiveId" clId="{D5C2B1E3-3E17-44F0-8B7A-9E0928E1AB27}" dt="2024-09-25T12:50:27.666" v="990" actId="478"/>
          <ac:spMkLst>
            <pc:docMk/>
            <pc:sldMk cId="2681470774" sldId="300"/>
            <ac:spMk id="21" creationId="{8F2B42D3-0F24-9762-6A35-F50191E64351}"/>
          </ac:spMkLst>
        </pc:spChg>
        <pc:spChg chg="add del mod topLvl">
          <ac:chgData name="Georgi Ivanov" userId="7e1b55540891ebeb" providerId="LiveId" clId="{D5C2B1E3-3E17-44F0-8B7A-9E0928E1AB27}" dt="2024-09-25T12:57:14.653" v="1077" actId="478"/>
          <ac:spMkLst>
            <pc:docMk/>
            <pc:sldMk cId="2681470774" sldId="300"/>
            <ac:spMk id="23" creationId="{672B2073-1506-0507-8832-F6AF7199BBB9}"/>
          </ac:spMkLst>
        </pc:spChg>
        <pc:spChg chg="add mod">
          <ac:chgData name="Georgi Ivanov" userId="7e1b55540891ebeb" providerId="LiveId" clId="{D5C2B1E3-3E17-44F0-8B7A-9E0928E1AB27}" dt="2024-09-25T12:57:58.384" v="1085" actId="1076"/>
          <ac:spMkLst>
            <pc:docMk/>
            <pc:sldMk cId="2681470774" sldId="300"/>
            <ac:spMk id="24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5" creationId="{2E96F421-5C8F-D7AC-CB8E-03B2D301D14F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33" creationId="{53478140-8BE6-5525-DF07-9358650A627B}"/>
          </ac:spMkLst>
        </pc:spChg>
        <pc:spChg chg="add mod">
          <ac:chgData name="Georgi Ivanov" userId="7e1b55540891ebeb" providerId="LiveId" clId="{D5C2B1E3-3E17-44F0-8B7A-9E0928E1AB27}" dt="2024-09-25T12:58:01.957" v="1086" actId="14100"/>
          <ac:spMkLst>
            <pc:docMk/>
            <pc:sldMk cId="2681470774" sldId="300"/>
            <ac:spMk id="34" creationId="{F24EF291-C501-D101-0029-071EE9043CF4}"/>
          </ac:spMkLst>
        </pc:spChg>
        <pc:grpChg chg="add del mod">
          <ac:chgData name="Georgi Ivanov" userId="7e1b55540891ebeb" providerId="LiveId" clId="{D5C2B1E3-3E17-44F0-8B7A-9E0928E1AB27}" dt="2024-09-25T12:54:47.751" v="1034" actId="478"/>
          <ac:grpSpMkLst>
            <pc:docMk/>
            <pc:sldMk cId="2681470774" sldId="300"/>
            <ac:grpSpMk id="8" creationId="{812F40D0-F814-BF21-B637-D31D88C371F3}"/>
          </ac:grpSpMkLst>
        </pc:grpChg>
        <pc:grpChg chg="add del mod">
          <ac:chgData name="Georgi Ivanov" userId="7e1b55540891ebeb" providerId="LiveId" clId="{D5C2B1E3-3E17-44F0-8B7A-9E0928E1AB27}" dt="2024-09-25T12:38:03.408" v="887" actId="165"/>
          <ac:grpSpMkLst>
            <pc:docMk/>
            <pc:sldMk cId="2681470774" sldId="300"/>
            <ac:grpSpMk id="9" creationId="{4EA1D100-0D5A-AD98-CBD6-3B7FAC4E147C}"/>
          </ac:grpSpMkLst>
        </pc:grpChg>
        <pc:grpChg chg="mod topLvl">
          <ac:chgData name="Georgi Ivanov" userId="7e1b55540891ebeb" providerId="LiveId" clId="{D5C2B1E3-3E17-44F0-8B7A-9E0928E1AB27}" dt="2024-09-25T12:55:02.013" v="1039" actId="1076"/>
          <ac:grpSpMkLst>
            <pc:docMk/>
            <pc:sldMk cId="2681470774" sldId="300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5T12:54:25.242" v="1030" actId="165"/>
          <ac:grpSpMkLst>
            <pc:docMk/>
            <pc:sldMk cId="2681470774" sldId="300"/>
            <ac:grpSpMk id="17" creationId="{58CDC86F-C2E6-8340-B71C-EC240DF61C89}"/>
          </ac:grpSpMkLst>
        </pc:grpChg>
        <pc:grpChg chg="add mod topLvl">
          <ac:chgData name="Georgi Ivanov" userId="7e1b55540891ebeb" providerId="LiveId" clId="{D5C2B1E3-3E17-44F0-8B7A-9E0928E1AB27}" dt="2024-09-25T12:57:53.643" v="1084" actId="1076"/>
          <ac:grpSpMkLst>
            <pc:docMk/>
            <pc:sldMk cId="2681470774" sldId="300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5T12:54:38.210" v="1033" actId="165"/>
          <ac:grpSpMkLst>
            <pc:docMk/>
            <pc:sldMk cId="2681470774" sldId="300"/>
            <ac:grpSpMk id="32" creationId="{CED7C7C4-9EF0-D034-523D-CF0F3057B6DB}"/>
          </ac:grpSpMkLst>
        </pc:grp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2" creationId="{219DB6DD-594A-8956-2C7D-A848844A957E}"/>
          </ac:picMkLst>
        </pc:pic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3" creationId="{91F8EF9C-1BEE-8152-85FD-C1F244475C3E}"/>
          </ac:picMkLst>
        </pc:picChg>
        <pc:picChg chg="mod topLvl">
          <ac:chgData name="Georgi Ivanov" userId="7e1b55540891ebeb" providerId="LiveId" clId="{D5C2B1E3-3E17-44F0-8B7A-9E0928E1AB27}" dt="2024-09-25T12:54:33.204" v="1032" actId="1076"/>
          <ac:picMkLst>
            <pc:docMk/>
            <pc:sldMk cId="2681470774" sldId="300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5T12:52:11.392" v="1019" actId="478"/>
          <ac:picMkLst>
            <pc:docMk/>
            <pc:sldMk cId="2681470774" sldId="300"/>
            <ac:picMk id="22" creationId="{856D5548-0AFD-465E-F78E-02BAEC17451A}"/>
          </ac:picMkLst>
        </pc:picChg>
        <pc:picChg chg="add del mod">
          <ac:chgData name="Georgi Ivanov" userId="7e1b55540891ebeb" providerId="LiveId" clId="{D5C2B1E3-3E17-44F0-8B7A-9E0928E1AB27}" dt="2024-09-25T12:52:10.969" v="1018" actId="478"/>
          <ac:picMkLst>
            <pc:docMk/>
            <pc:sldMk cId="2681470774" sldId="300"/>
            <ac:picMk id="27" creationId="{E6F39BB3-989F-5A73-0040-5C5A7AAD7633}"/>
          </ac:picMkLst>
        </pc:picChg>
        <pc:picChg chg="add del mod">
          <ac:chgData name="Georgi Ivanov" userId="7e1b55540891ebeb" providerId="LiveId" clId="{D5C2B1E3-3E17-44F0-8B7A-9E0928E1AB27}" dt="2024-09-25T12:52:10.329" v="1017" actId="478"/>
          <ac:picMkLst>
            <pc:docMk/>
            <pc:sldMk cId="2681470774" sldId="300"/>
            <ac:picMk id="28" creationId="{EFB6A4E7-EB39-8D27-F9CA-A80DD6D6F66F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9" creationId="{589B69B8-B088-4632-7BDA-773B26D65CB9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30" creationId="{804CD20B-D34E-E250-FE43-7F9A9816001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6" creationId="{1F45828B-8F5C-FF73-3C4B-A998B8DACFC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8" creationId="{037AAB4F-B00B-7F7E-8EB1-FE647FD6520B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050" creationId="{5E82655F-7EC7-C105-EAA2-389E5E131EBC}"/>
          </ac:picMkLst>
        </pc:picChg>
      </pc:sldChg>
      <pc:sldChg chg="modSp add mod">
        <pc:chgData name="Georgi Ivanov" userId="7e1b55540891ebeb" providerId="LiveId" clId="{D5C2B1E3-3E17-44F0-8B7A-9E0928E1AB27}" dt="2024-09-25T12:59:27.396" v="1127" actId="20577"/>
        <pc:sldMkLst>
          <pc:docMk/>
          <pc:sldMk cId="1192031428" sldId="301"/>
        </pc:sldMkLst>
        <pc:spChg chg="mod">
          <ac:chgData name="Georgi Ivanov" userId="7e1b55540891ebeb" providerId="LiveId" clId="{D5C2B1E3-3E17-44F0-8B7A-9E0928E1AB27}" dt="2024-09-25T12:59:27.396" v="1127" actId="20577"/>
          <ac:spMkLst>
            <pc:docMk/>
            <pc:sldMk cId="1192031428" sldId="301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2:59:42.784" v="1144" actId="20577"/>
        <pc:sldMkLst>
          <pc:docMk/>
          <pc:sldMk cId="1972952743" sldId="302"/>
        </pc:sldMkLst>
        <pc:spChg chg="mod">
          <ac:chgData name="Georgi Ivanov" userId="7e1b55540891ebeb" providerId="LiveId" clId="{D5C2B1E3-3E17-44F0-8B7A-9E0928E1AB27}" dt="2024-09-25T12:59:42.784" v="1144" actId="20577"/>
          <ac:spMkLst>
            <pc:docMk/>
            <pc:sldMk cId="1972952743" sldId="302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14:25.978" v="1413" actId="1076"/>
        <pc:sldMkLst>
          <pc:docMk/>
          <pc:sldMk cId="3905450874" sldId="303"/>
        </pc:sldMkLst>
        <pc:spChg chg="add del mod">
          <ac:chgData name="Georgi Ivanov" userId="7e1b55540891ebeb" providerId="LiveId" clId="{D5C2B1E3-3E17-44F0-8B7A-9E0928E1AB27}" dt="2024-09-25T13:14:15.380" v="1412" actId="1076"/>
          <ac:spMkLst>
            <pc:docMk/>
            <pc:sldMk cId="3905450874" sldId="303"/>
            <ac:spMk id="12" creationId="{084BFAB7-1E03-4EB2-8CCE-0C5CACEA3CC1}"/>
          </ac:spMkLst>
        </pc:spChg>
        <pc:spChg chg="mod">
          <ac:chgData name="Georgi Ivanov" userId="7e1b55540891ebeb" providerId="LiveId" clId="{D5C2B1E3-3E17-44F0-8B7A-9E0928E1AB27}" dt="2024-09-25T13:14:25.978" v="1413" actId="1076"/>
          <ac:spMkLst>
            <pc:docMk/>
            <pc:sldMk cId="3905450874" sldId="303"/>
            <ac:spMk id="15" creationId="{31CC1986-C0F2-4C1B-8575-225EEE4D561B}"/>
          </ac:spMkLst>
        </pc:spChg>
        <pc:spChg chg="del mod">
          <ac:chgData name="Georgi Ivanov" userId="7e1b55540891ebeb" providerId="LiveId" clId="{D5C2B1E3-3E17-44F0-8B7A-9E0928E1AB27}" dt="2024-09-25T13:14:12.310" v="1410" actId="478"/>
          <ac:spMkLst>
            <pc:docMk/>
            <pc:sldMk cId="3905450874" sldId="303"/>
            <ac:spMk id="16" creationId="{73876DDB-D869-4E80-9AE0-B1B350CCA131}"/>
          </ac:spMkLst>
        </pc:spChg>
        <pc:spChg chg="mod">
          <ac:chgData name="Georgi Ivanov" userId="7e1b55540891ebeb" providerId="LiveId" clId="{D5C2B1E3-3E17-44F0-8B7A-9E0928E1AB27}" dt="2024-09-25T13:02:08.598" v="1193" actId="1076"/>
          <ac:spMkLst>
            <pc:docMk/>
            <pc:sldMk cId="3905450874" sldId="303"/>
            <ac:spMk id="31" creationId="{246F018F-2061-4376-B7CA-EA7870C7DF33}"/>
          </ac:spMkLst>
        </pc:spChg>
        <pc:spChg chg="mod">
          <ac:chgData name="Georgi Ivanov" userId="7e1b55540891ebeb" providerId="LiveId" clId="{D5C2B1E3-3E17-44F0-8B7A-9E0928E1AB27}" dt="2024-09-25T13:02:24.367" v="1208" actId="14100"/>
          <ac:spMkLst>
            <pc:docMk/>
            <pc:sldMk cId="3905450874" sldId="303"/>
            <ac:spMk id="32" creationId="{A4781CB8-6941-4A5A-B54F-1F881A26A730}"/>
          </ac:spMkLst>
        </pc:spChg>
        <pc:spChg chg="mod">
          <ac:chgData name="Georgi Ivanov" userId="7e1b55540891ebeb" providerId="LiveId" clId="{D5C2B1E3-3E17-44F0-8B7A-9E0928E1AB27}" dt="2024-09-25T13:02:12.841" v="1199" actId="20577"/>
          <ac:spMkLst>
            <pc:docMk/>
            <pc:sldMk cId="3905450874" sldId="303"/>
            <ac:spMk id="33" creationId="{4AB2ACD1-6140-4842-BC3E-5D762A5714D4}"/>
          </ac:spMkLst>
        </pc:spChg>
        <pc:spChg chg="mod">
          <ac:chgData name="Georgi Ivanov" userId="7e1b55540891ebeb" providerId="LiveId" clId="{D5C2B1E3-3E17-44F0-8B7A-9E0928E1AB27}" dt="2024-09-25T13:02:52.082" v="1266" actId="20577"/>
          <ac:spMkLst>
            <pc:docMk/>
            <pc:sldMk cId="3905450874" sldId="303"/>
            <ac:spMk id="37" creationId="{C8A0FE49-A2E6-4288-95C1-416B721FE671}"/>
          </ac:spMkLst>
        </pc:spChg>
        <pc:spChg chg="mod">
          <ac:chgData name="Georgi Ivanov" userId="7e1b55540891ebeb" providerId="LiveId" clId="{D5C2B1E3-3E17-44F0-8B7A-9E0928E1AB27}" dt="2024-09-25T13:03:06.441" v="1292" actId="20577"/>
          <ac:spMkLst>
            <pc:docMk/>
            <pc:sldMk cId="3905450874" sldId="303"/>
            <ac:spMk id="38" creationId="{4C541DA1-3474-448E-85B7-DCDCAB60D849}"/>
          </ac:spMkLst>
        </pc:spChg>
        <pc:spChg chg="mod">
          <ac:chgData name="Georgi Ivanov" userId="7e1b55540891ebeb" providerId="LiveId" clId="{D5C2B1E3-3E17-44F0-8B7A-9E0928E1AB27}" dt="2024-09-25T13:03:27.073" v="1331" actId="313"/>
          <ac:spMkLst>
            <pc:docMk/>
            <pc:sldMk cId="3905450874" sldId="303"/>
            <ac:spMk id="39" creationId="{4D0DD9E9-8C48-41FB-81FC-E16539A15F21}"/>
          </ac:spMkLst>
        </pc:spChg>
        <pc:picChg chg="mod">
          <ac:chgData name="Georgi Ivanov" userId="7e1b55540891ebeb" providerId="LiveId" clId="{D5C2B1E3-3E17-44F0-8B7A-9E0928E1AB27}" dt="2024-09-25T13:03:32.624" v="1333" actId="1076"/>
          <ac:picMkLst>
            <pc:docMk/>
            <pc:sldMk cId="3905450874" sldId="303"/>
            <ac:picMk id="6" creationId="{4C98512E-B76C-AAC0-813D-EBAF42C0CD10}"/>
          </ac:picMkLst>
        </pc:picChg>
      </pc:sldChg>
      <pc:sldChg chg="modSp add mod">
        <pc:chgData name="Georgi Ivanov" userId="7e1b55540891ebeb" providerId="LiveId" clId="{D5C2B1E3-3E17-44F0-8B7A-9E0928E1AB27}" dt="2024-09-25T13:21:56.106" v="1480" actId="313"/>
        <pc:sldMkLst>
          <pc:docMk/>
          <pc:sldMk cId="2750299626" sldId="304"/>
        </pc:sldMkLst>
        <pc:spChg chg="mod">
          <ac:chgData name="Georgi Ivanov" userId="7e1b55540891ebeb" providerId="LiveId" clId="{D5C2B1E3-3E17-44F0-8B7A-9E0928E1AB27}" dt="2024-09-25T13:21:56.106" v="1480" actId="313"/>
          <ac:spMkLst>
            <pc:docMk/>
            <pc:sldMk cId="2750299626" sldId="304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24:46.212" v="1524" actId="1076"/>
        <pc:sldMkLst>
          <pc:docMk/>
          <pc:sldMk cId="1652063002" sldId="305"/>
        </pc:sldMkLst>
        <pc:spChg chg="mod">
          <ac:chgData name="Georgi Ivanov" userId="7e1b55540891ebeb" providerId="LiveId" clId="{D5C2B1E3-3E17-44F0-8B7A-9E0928E1AB27}" dt="2024-09-25T13:22:40.261" v="1507" actId="20577"/>
          <ac:spMkLst>
            <pc:docMk/>
            <pc:sldMk cId="1652063002" sldId="305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23:16.870" v="1511" actId="12"/>
          <ac:spMkLst>
            <pc:docMk/>
            <pc:sldMk cId="1652063002" sldId="305"/>
            <ac:spMk id="59" creationId="{01381D6B-0A38-4E06-8506-A342F6A017DB}"/>
          </ac:spMkLst>
        </pc:spChg>
        <pc:picChg chg="add mod">
          <ac:chgData name="Georgi Ivanov" userId="7e1b55540891ebeb" providerId="LiveId" clId="{D5C2B1E3-3E17-44F0-8B7A-9E0928E1AB27}" dt="2024-09-25T13:24:46.212" v="1524" actId="1076"/>
          <ac:picMkLst>
            <pc:docMk/>
            <pc:sldMk cId="1652063002" sldId="305"/>
            <ac:picMk id="3" creationId="{DB4F0400-51F6-DEFA-BF32-6C2CE7E690FE}"/>
          </ac:picMkLst>
        </pc:picChg>
        <pc:picChg chg="del">
          <ac:chgData name="Georgi Ivanov" userId="7e1b55540891ebeb" providerId="LiveId" clId="{D5C2B1E3-3E17-44F0-8B7A-9E0928E1AB27}" dt="2024-09-25T13:24:33.238" v="1523" actId="478"/>
          <ac:picMkLst>
            <pc:docMk/>
            <pc:sldMk cId="1652063002" sldId="305"/>
            <ac:picMk id="4" creationId="{A482FC57-17D3-3A23-46A2-1257FC345C5A}"/>
          </ac:picMkLst>
        </pc:picChg>
      </pc:sldChg>
      <pc:sldChg chg="addSp delSp modSp add mod">
        <pc:chgData name="Georgi Ivanov" userId="7e1b55540891ebeb" providerId="LiveId" clId="{D5C2B1E3-3E17-44F0-8B7A-9E0928E1AB27}" dt="2024-09-26T08:34:30.863" v="2904" actId="2711"/>
        <pc:sldMkLst>
          <pc:docMk/>
          <pc:sldMk cId="533037609" sldId="306"/>
        </pc:sldMkLst>
        <pc:spChg chg="mod">
          <ac:chgData name="Georgi Ivanov" userId="7e1b55540891ebeb" providerId="LiveId" clId="{D5C2B1E3-3E17-44F0-8B7A-9E0928E1AB27}" dt="2024-09-25T13:26:18.054" v="1554" actId="20577"/>
          <ac:spMkLst>
            <pc:docMk/>
            <pc:sldMk cId="533037609" sldId="306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4:30.863" v="2904" actId="2711"/>
          <ac:spMkLst>
            <pc:docMk/>
            <pc:sldMk cId="533037609" sldId="306"/>
            <ac:spMk id="3" creationId="{E3616238-46A4-D94F-D84B-7DE0BA6D908A}"/>
          </ac:spMkLst>
        </pc:spChg>
        <pc:spChg chg="add del mod">
          <ac:chgData name="Georgi Ivanov" userId="7e1b55540891ebeb" providerId="LiveId" clId="{D5C2B1E3-3E17-44F0-8B7A-9E0928E1AB27}" dt="2024-09-26T07:52:41.207" v="2283" actId="478"/>
          <ac:spMkLst>
            <pc:docMk/>
            <pc:sldMk cId="533037609" sldId="306"/>
            <ac:spMk id="9" creationId="{5BDC83DD-E745-A414-9B0D-D250E0A4C626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6" creationId="{E970DDF6-1DAA-110B-AD62-F1DB1D9FB745}"/>
          </ac:spMkLst>
        </pc:spChg>
        <pc:spChg chg="add del mod">
          <ac:chgData name="Georgi Ivanov" userId="7e1b55540891ebeb" providerId="LiveId" clId="{D5C2B1E3-3E17-44F0-8B7A-9E0928E1AB27}" dt="2024-09-26T07:49:48.191" v="2227" actId="478"/>
          <ac:spMkLst>
            <pc:docMk/>
            <pc:sldMk cId="533037609" sldId="306"/>
            <ac:spMk id="17" creationId="{25ED45C8-79E0-B611-B86C-08135DDA99F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8" creationId="{4804B82E-E9C1-DD3E-AEBA-9A64F4356BD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01:18.535" v="2467" actId="688"/>
          <ac:spMkLst>
            <pc:docMk/>
            <pc:sldMk cId="533037609" sldId="306"/>
            <ac:spMk id="20" creationId="{8A837539-3BE5-3AF8-3D24-30F54984B180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1" creationId="{2E0BF118-8043-6DC3-A6B7-D439D8ADC402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2" creationId="{5E3B1A33-E7D8-89B0-0429-1D7BFB233039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24" creationId="{C2FC9430-89FA-B6F5-FF73-09BF4CD95552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5" creationId="{2E96F421-5C8F-D7AC-CB8E-03B2D301D14F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6" creationId="{0D0C9F23-91D5-336C-C039-30C996918F9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7" creationId="{7DA5A9A3-FFE3-84E2-F7EE-42D52A4FAAB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8" creationId="{5D8C8C02-5ACC-6D20-89A1-9A5A36D24717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2" creationId="{987E1DE9-24F9-EF27-5231-3C3956B9EAEC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3" creationId="{8C4573EC-48E0-8C76-A3BB-CE72853B5F40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34" creationId="{F24EF291-C501-D101-0029-071EE9043CF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5" creationId="{0459DF42-8DE1-326C-78AF-9E492D7C1B7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6" creationId="{63F595F7-EEAD-BC3D-F400-D96CB04EA85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7" creationId="{9E2A0C89-3F75-7F3F-C761-1B1D5263F72D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8" creationId="{FB2C7B5F-450F-B1CC-0FE5-AE904E41B2F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9" creationId="{D8526FAC-DF41-2ACC-1D79-7584A4B10E42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0" creationId="{3B72BD6F-CCA6-3490-BAE2-3A1B7C520EFB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1" creationId="{E6B25B36-58F0-C885-300A-215619A1C1EF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2" creationId="{75727771-5FED-6830-F2C7-7B3305B3BBE3}"/>
          </ac:spMkLst>
        </pc:spChg>
        <pc:spChg chg="add del mod">
          <ac:chgData name="Georgi Ivanov" userId="7e1b55540891ebeb" providerId="LiveId" clId="{D5C2B1E3-3E17-44F0-8B7A-9E0928E1AB27}" dt="2024-09-26T08:01:24.246" v="2469" actId="478"/>
          <ac:spMkLst>
            <pc:docMk/>
            <pc:sldMk cId="533037609" sldId="306"/>
            <ac:spMk id="44" creationId="{34C9120D-7E56-3897-8B71-6267DF50FF1F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45" creationId="{0BB37216-136E-A61C-B974-E5890833BF41}"/>
          </ac:spMkLst>
        </pc:spChg>
        <pc:spChg chg="add mod">
          <ac:chgData name="Georgi Ivanov" userId="7e1b55540891ebeb" providerId="LiveId" clId="{D5C2B1E3-3E17-44F0-8B7A-9E0928E1AB27}" dt="2024-09-26T08:00:50.863" v="2464" actId="14100"/>
          <ac:spMkLst>
            <pc:docMk/>
            <pc:sldMk cId="533037609" sldId="306"/>
            <ac:spMk id="46" creationId="{34DC775C-FE86-F5DC-F3D1-D5E2D253A742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7" creationId="{46136E1C-7F3A-BA3F-FC0C-C01F84635983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8" creationId="{D2651B7D-662C-F793-8FDA-FCDC154CCB52}"/>
          </ac:spMkLst>
        </pc:spChg>
        <pc:spChg chg="add mod">
          <ac:chgData name="Georgi Ivanov" userId="7e1b55540891ebeb" providerId="LiveId" clId="{D5C2B1E3-3E17-44F0-8B7A-9E0928E1AB27}" dt="2024-09-26T07:57:25.667" v="2361"/>
          <ac:spMkLst>
            <pc:docMk/>
            <pc:sldMk cId="533037609" sldId="306"/>
            <ac:spMk id="49" creationId="{47D2F0F3-546F-CC58-F704-C2FAC9CA804F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1" creationId="{FE48ED0D-8310-E6BC-DEF4-708A608CC621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2" creationId="{D2F5A9E8-DD22-7D5B-235A-CA9BAB1514C5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3" creationId="{2E13A1DA-7852-C14C-0C44-FEDC3426BC9B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4" creationId="{3822E61F-8769-DC33-2533-3FC5B62F51F8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5" creationId="{48F7B265-C444-CEA4-70C7-617EFAC348DE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6" creationId="{B0B1641E-4104-29E0-E3EF-B800B1F33E35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7" creationId="{F979CCA2-A25C-CBDB-F0D0-5C203551B054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59" creationId="{0EA7BEBA-4867-8232-BC4C-3BF44F8311D3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0" creationId="{539F17CE-7019-84BD-E183-4AD969F59B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1" creationId="{F855838B-E3CE-7BB3-502D-DE764F1866BD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2" creationId="{E757ED09-42E8-0E89-4C5C-10FD70AF058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3" creationId="{A4D13453-A5D5-1B39-19DC-D0D477FD23EA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8" creationId="{F7F292A1-E8C7-CB32-1F22-0E886DDF5CD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9" creationId="{FB2B5A4B-3781-DE21-4CD1-ECEA080AB177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1" creationId="{FD9A3745-24D7-1345-57D2-778313F5923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2" creationId="{A11BAF3D-AC8D-8BDA-CD3A-5AB97407F47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3" creationId="{E60FC808-121D-C97D-A754-0E75EF8CC571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4" creationId="{80AF5BBB-3F42-8A53-68EE-B256655D65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5" creationId="{A25547B0-686A-956F-3900-14FFE4890ED0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2056" creationId="{4E3BEE08-68F9-4676-61D9-F3EBC6C3D05C}"/>
          </ac:spMkLst>
        </pc:spChg>
        <pc:spChg chg="add mod">
          <ac:chgData name="Georgi Ivanov" userId="7e1b55540891ebeb" providerId="LiveId" clId="{D5C2B1E3-3E17-44F0-8B7A-9E0928E1AB27}" dt="2024-09-26T08:09:46.095" v="2576" actId="14100"/>
          <ac:spMkLst>
            <pc:docMk/>
            <pc:sldMk cId="533037609" sldId="306"/>
            <ac:spMk id="2058" creationId="{6DE964B7-68B8-7CA4-846F-7BF2F75CFE7D}"/>
          </ac:spMkLst>
        </pc:spChg>
        <pc:spChg chg="add mod">
          <ac:chgData name="Georgi Ivanov" userId="7e1b55540891ebeb" providerId="LiveId" clId="{D5C2B1E3-3E17-44F0-8B7A-9E0928E1AB27}" dt="2024-09-26T08:09:55.738" v="2577" actId="14100"/>
          <ac:spMkLst>
            <pc:docMk/>
            <pc:sldMk cId="533037609" sldId="306"/>
            <ac:spMk id="2059" creationId="{F801CB75-769C-D145-3164-8BCA11DA197C}"/>
          </ac:spMkLst>
        </pc:spChg>
        <pc:spChg chg="add del mod">
          <ac:chgData name="Georgi Ivanov" userId="7e1b55540891ebeb" providerId="LiveId" clId="{D5C2B1E3-3E17-44F0-8B7A-9E0928E1AB27}" dt="2024-09-26T08:06:48.476" v="2514" actId="478"/>
          <ac:spMkLst>
            <pc:docMk/>
            <pc:sldMk cId="533037609" sldId="306"/>
            <ac:spMk id="2063" creationId="{3714E7F3-608B-C1B4-6F3C-12EDC12D4793}"/>
          </ac:spMkLst>
        </pc:spChg>
        <pc:spChg chg="add del mod">
          <ac:chgData name="Georgi Ivanov" userId="7e1b55540891ebeb" providerId="LiveId" clId="{D5C2B1E3-3E17-44F0-8B7A-9E0928E1AB27}" dt="2024-09-26T08:07:05.488" v="2517" actId="478"/>
          <ac:spMkLst>
            <pc:docMk/>
            <pc:sldMk cId="533037609" sldId="306"/>
            <ac:spMk id="2064" creationId="{4E13946B-9EB5-7F88-ED7D-94D5C6090D95}"/>
          </ac:spMkLst>
        </pc:spChg>
        <pc:spChg chg="add mod">
          <ac:chgData name="Georgi Ivanov" userId="7e1b55540891ebeb" providerId="LiveId" clId="{D5C2B1E3-3E17-44F0-8B7A-9E0928E1AB27}" dt="2024-09-26T08:23:06.304" v="2838" actId="1076"/>
          <ac:spMkLst>
            <pc:docMk/>
            <pc:sldMk cId="533037609" sldId="306"/>
            <ac:spMk id="2065" creationId="{554707AD-820D-59B0-2BE1-998BA127E0F9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066" creationId="{C47B7FEE-892C-6CDB-2809-01030A8B509C}"/>
          </ac:spMkLst>
        </pc:spChg>
        <pc:spChg chg="add mod">
          <ac:chgData name="Georgi Ivanov" userId="7e1b55540891ebeb" providerId="LiveId" clId="{D5C2B1E3-3E17-44F0-8B7A-9E0928E1AB27}" dt="2024-09-26T08:22:49.072" v="2835" actId="1076"/>
          <ac:spMkLst>
            <pc:docMk/>
            <pc:sldMk cId="533037609" sldId="306"/>
            <ac:spMk id="2067" creationId="{289D8543-FB4B-2075-CC01-036ACCD94B0F}"/>
          </ac:spMkLst>
        </pc:spChg>
        <pc:grpChg chg="add mod">
          <ac:chgData name="Georgi Ivanov" userId="7e1b55540891ebeb" providerId="LiveId" clId="{D5C2B1E3-3E17-44F0-8B7A-9E0928E1AB27}" dt="2024-09-26T08:21:52.933" v="2821" actId="1076"/>
          <ac:grpSpMkLst>
            <pc:docMk/>
            <pc:sldMk cId="533037609" sldId="306"/>
            <ac:grpSpMk id="8" creationId="{7BA130D8-B452-933E-E783-2365E14A4B0B}"/>
          </ac:grpSpMkLst>
        </pc:grpChg>
        <pc:grpChg chg="del">
          <ac:chgData name="Georgi Ivanov" userId="7e1b55540891ebeb" providerId="LiveId" clId="{D5C2B1E3-3E17-44F0-8B7A-9E0928E1AB27}" dt="2024-09-26T07:42:50.019" v="2151" actId="478"/>
          <ac:grpSpMkLst>
            <pc:docMk/>
            <pc:sldMk cId="533037609" sldId="306"/>
            <ac:grpSpMk id="14" creationId="{93FF40BB-26DA-E3DD-6351-24DE54E3BD81}"/>
          </ac:grpSpMkLst>
        </pc:grpChg>
        <pc:grpChg chg="add mod">
          <ac:chgData name="Georgi Ivanov" userId="7e1b55540891ebeb" providerId="LiveId" clId="{D5C2B1E3-3E17-44F0-8B7A-9E0928E1AB27}" dt="2024-09-26T08:01:13.926" v="2466" actId="1076"/>
          <ac:grpSpMkLst>
            <pc:docMk/>
            <pc:sldMk cId="533037609" sldId="306"/>
            <ac:grpSpMk id="23" creationId="{3D052801-36B4-487C-6C20-A2573DF55DCD}"/>
          </ac:grpSpMkLst>
        </pc:grpChg>
        <pc:grpChg chg="del mod">
          <ac:chgData name="Georgi Ivanov" userId="7e1b55540891ebeb" providerId="LiveId" clId="{D5C2B1E3-3E17-44F0-8B7A-9E0928E1AB27}" dt="2024-09-26T07:46:13.769" v="2202" actId="478"/>
          <ac:grpSpMkLst>
            <pc:docMk/>
            <pc:sldMk cId="533037609" sldId="306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6T08:01:22.896" v="2468" actId="478"/>
          <ac:grpSpMkLst>
            <pc:docMk/>
            <pc:sldMk cId="533037609" sldId="306"/>
            <ac:grpSpMk id="43" creationId="{D1E559CB-88B6-DA2F-D450-59C8C7718BDB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58" creationId="{F5162046-BF55-16D1-C778-00B74E8C2AD9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2057" creationId="{1A6D87DC-BE9E-88EA-423F-218541B67B6C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0" creationId="{27812AF3-C333-6385-08C1-BC8FB09934C8}"/>
          </ac:grpSpMkLst>
        </pc:grpChg>
        <pc:grpChg chg="add mod">
          <ac:chgData name="Georgi Ivanov" userId="7e1b55540891ebeb" providerId="LiveId" clId="{D5C2B1E3-3E17-44F0-8B7A-9E0928E1AB27}" dt="2024-09-26T08:22:21.482" v="2828" actId="164"/>
          <ac:grpSpMkLst>
            <pc:docMk/>
            <pc:sldMk cId="533037609" sldId="306"/>
            <ac:grpSpMk id="2068" creationId="{04C83C1B-FE55-B65E-DB2B-63886AD26734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9" creationId="{056010CF-4FB7-72EA-11D2-141139A127B6}"/>
          </ac:grpSpMkLst>
        </pc:grp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5" creationId="{9C2B8AE2-14DC-AD23-2919-F06DDE649FE8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6" creationId="{517C7BDF-6FB0-E93F-5851-8D3F4AF1E4E1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7" creationId="{CC88A7EA-D065-DAD9-A4B5-C03B53249F76}"/>
          </ac:picMkLst>
        </pc:picChg>
        <pc:picChg chg="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9" creationId="{589B69B8-B088-4632-7BDA-773B26D65CB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30" creationId="{804CD20B-D34E-E250-FE43-7F9A9816001B}"/>
          </ac:picMkLst>
        </pc:picChg>
        <pc:picChg chg="add mod">
          <ac:chgData name="Georgi Ivanov" userId="7e1b55540891ebeb" providerId="LiveId" clId="{D5C2B1E3-3E17-44F0-8B7A-9E0928E1AB27}" dt="2024-09-26T08:06:16.519" v="2506" actId="1076"/>
          <ac:picMkLst>
            <pc:docMk/>
            <pc:sldMk cId="533037609" sldId="306"/>
            <ac:picMk id="50" creationId="{3D8DB2C7-41BF-F19B-6274-7171139B9E55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050" creationId="{5E82655F-7EC7-C105-EAA2-389E5E131EBC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1" creationId="{0EA46D97-700E-B7C4-AD88-7CD9A56E662F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2" creationId="{45C70D13-C710-067D-62BB-2C1A1DE2D180}"/>
          </ac:picMkLst>
        </pc:picChg>
        <pc:picChg chg="add mod">
          <ac:chgData name="Georgi Ivanov" userId="7e1b55540891ebeb" providerId="LiveId" clId="{D5C2B1E3-3E17-44F0-8B7A-9E0928E1AB27}" dt="2024-09-26T07:58:11.405" v="2391" actId="1076"/>
          <ac:picMkLst>
            <pc:docMk/>
            <pc:sldMk cId="533037609" sldId="306"/>
            <ac:picMk id="16386" creationId="{54088610-96F7-0299-5CFD-CE46B4331C85}"/>
          </ac:picMkLst>
        </pc:picChg>
      </pc:sldChg>
      <pc:sldChg chg="modSp add mod ord">
        <pc:chgData name="Georgi Ivanov" userId="7e1b55540891ebeb" providerId="LiveId" clId="{D5C2B1E3-3E17-44F0-8B7A-9E0928E1AB27}" dt="2024-09-26T08:51:28.608" v="3112"/>
        <pc:sldMkLst>
          <pc:docMk/>
          <pc:sldMk cId="1035094951" sldId="307"/>
        </pc:sldMkLst>
        <pc:spChg chg="mod">
          <ac:chgData name="Georgi Ivanov" userId="7e1b55540891ebeb" providerId="LiveId" clId="{D5C2B1E3-3E17-44F0-8B7A-9E0928E1AB27}" dt="2024-09-25T13:26:31.972" v="1575" actId="20577"/>
          <ac:spMkLst>
            <pc:docMk/>
            <pc:sldMk cId="1035094951" sldId="307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28.608" v="3112"/>
          <ac:spMkLst>
            <pc:docMk/>
            <pc:sldMk cId="1035094951" sldId="307"/>
            <ac:spMk id="3" creationId="{E3616238-46A4-D94F-D84B-7DE0BA6D908A}"/>
          </ac:spMkLst>
        </pc:spChg>
      </pc:sldChg>
      <pc:sldChg chg="modSp add del mod">
        <pc:chgData name="Georgi Ivanov" userId="7e1b55540891ebeb" providerId="LiveId" clId="{D5C2B1E3-3E17-44F0-8B7A-9E0928E1AB27}" dt="2024-09-26T07:42:28.358" v="2150" actId="47"/>
        <pc:sldMkLst>
          <pc:docMk/>
          <pc:sldMk cId="2118658209" sldId="308"/>
        </pc:sldMkLst>
        <pc:spChg chg="mod">
          <ac:chgData name="Georgi Ivanov" userId="7e1b55540891ebeb" providerId="LiveId" clId="{D5C2B1E3-3E17-44F0-8B7A-9E0928E1AB27}" dt="2024-09-25T13:27:09.276" v="1577" actId="20577"/>
          <ac:spMkLst>
            <pc:docMk/>
            <pc:sldMk cId="2118658209" sldId="308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45:03.363" v="2973" actId="20577"/>
        <pc:sldMkLst>
          <pc:docMk/>
          <pc:sldMk cId="783060905" sldId="309"/>
        </pc:sldMkLst>
        <pc:spChg chg="mod">
          <ac:chgData name="Georgi Ivanov" userId="7e1b55540891ebeb" providerId="LiveId" clId="{D5C2B1E3-3E17-44F0-8B7A-9E0928E1AB27}" dt="2024-09-26T08:33:26.700" v="2892" actId="20577"/>
          <ac:spMkLst>
            <pc:docMk/>
            <pc:sldMk cId="783060905" sldId="30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03.363" v="2973" actId="20577"/>
          <ac:spMkLst>
            <pc:docMk/>
            <pc:sldMk cId="783060905" sldId="309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33:36.292" v="2895" actId="478"/>
          <ac:picMkLst>
            <pc:docMk/>
            <pc:sldMk cId="783060905" sldId="309"/>
            <ac:picMk id="15" creationId="{FCC4914A-A8C0-9BC5-4089-27074B66A779}"/>
          </ac:picMkLst>
        </pc:picChg>
      </pc:sldChg>
      <pc:sldChg chg="modSp add mod ord">
        <pc:chgData name="Georgi Ivanov" userId="7e1b55540891ebeb" providerId="LiveId" clId="{D5C2B1E3-3E17-44F0-8B7A-9E0928E1AB27}" dt="2024-09-26T08:45:33.082" v="2983" actId="20577"/>
        <pc:sldMkLst>
          <pc:docMk/>
          <pc:sldMk cId="2771187703" sldId="310"/>
        </pc:sldMkLst>
        <pc:spChg chg="mod">
          <ac:chgData name="Georgi Ivanov" userId="7e1b55540891ebeb" providerId="LiveId" clId="{D5C2B1E3-3E17-44F0-8B7A-9E0928E1AB27}" dt="2024-09-25T13:29:03.790" v="1599" actId="20577"/>
          <ac:spMkLst>
            <pc:docMk/>
            <pc:sldMk cId="2771187703" sldId="31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33.082" v="2983" actId="20577"/>
          <ac:spMkLst>
            <pc:docMk/>
            <pc:sldMk cId="2771187703" sldId="310"/>
            <ac:spMk id="3" creationId="{E3616238-46A4-D94F-D84B-7DE0BA6D908A}"/>
          </ac:spMkLst>
        </pc:spChg>
      </pc:sldChg>
      <pc:sldChg chg="modSp add del mod ord">
        <pc:chgData name="Georgi Ivanov" userId="7e1b55540891ebeb" providerId="LiveId" clId="{D5C2B1E3-3E17-44F0-8B7A-9E0928E1AB27}" dt="2024-09-26T08:51:26.113" v="3111" actId="47"/>
        <pc:sldMkLst>
          <pc:docMk/>
          <pc:sldMk cId="1281804577" sldId="311"/>
        </pc:sldMkLst>
        <pc:spChg chg="mod">
          <ac:chgData name="Georgi Ivanov" userId="7e1b55540891ebeb" providerId="LiveId" clId="{D5C2B1E3-3E17-44F0-8B7A-9E0928E1AB27}" dt="2024-09-25T13:29:18.871" v="1606" actId="20577"/>
          <ac:spMkLst>
            <pc:docMk/>
            <pc:sldMk cId="1281804577" sldId="31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16.410" v="3110" actId="20577"/>
          <ac:spMkLst>
            <pc:docMk/>
            <pc:sldMk cId="1281804577" sldId="311"/>
            <ac:spMk id="3" creationId="{E3616238-46A4-D94F-D84B-7DE0BA6D908A}"/>
          </ac:spMkLst>
        </pc:spChg>
      </pc:sldChg>
      <pc:sldChg chg="addSp delSp modSp add mod">
        <pc:chgData name="Georgi Ivanov" userId="7e1b55540891ebeb" providerId="LiveId" clId="{D5C2B1E3-3E17-44F0-8B7A-9E0928E1AB27}" dt="2024-09-25T14:10:11.013" v="1812" actId="1076"/>
        <pc:sldMkLst>
          <pc:docMk/>
          <pc:sldMk cId="597583266" sldId="312"/>
        </pc:sldMkLst>
        <pc:spChg chg="mod">
          <ac:chgData name="Georgi Ivanov" userId="7e1b55540891ebeb" providerId="LiveId" clId="{D5C2B1E3-3E17-44F0-8B7A-9E0928E1AB27}" dt="2024-09-25T13:29:47.437" v="1609" actId="27636"/>
          <ac:spMkLst>
            <pc:docMk/>
            <pc:sldMk cId="597583266" sldId="312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" creationId="{9B0C2225-89A1-3942-7063-C4FB1CC7D5C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1" creationId="{B33BECDC-C83E-9D06-0591-4D47DE44D2A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2" creationId="{3D427BED-1B37-6503-66FB-1CD1ECAD8F9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7" creationId="{759BAD90-0AEC-2EB4-8211-445E791B881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8" creationId="{1182C66C-412A-5187-0886-C3490AE4F28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9" creationId="{5698948A-D63C-2BAC-833A-526065E0489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0" creationId="{6FC605CF-929B-7ED9-E0DA-134CA488D3C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1" creationId="{7E325A94-5D43-BE82-569E-441987A06809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2" creationId="{1007F724-260B-C862-712E-49A0F257650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3" creationId="{4C74892A-B592-1ADD-A885-BDFB95589A0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4" creationId="{0BFE9FC9-D57C-351B-C303-62B8DE7B30A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5" creationId="{C56E306B-BD63-FC20-049E-C9F554F7573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7" creationId="{E76460C6-ADCF-F32E-0397-3065E252BE2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0" creationId="{A3D78622-6BE1-5761-480B-75B2C142463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1" creationId="{3D4B7E35-9741-7678-0E61-48CD730658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2" creationId="{C0E0E3F1-A724-2A0D-9F6D-4BF495D2EBD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3" creationId="{49975CB1-6C4C-3EF0-0015-6C0949581A6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4" creationId="{D542734E-49A3-2FAE-8AFC-99136DB7006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5" creationId="{E4142DDC-7D30-8FA5-D8B6-DE23DFA59D34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6" creationId="{EAF11130-CE52-2E8B-6433-B15C60F6D54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1" creationId="{6A90B05D-0528-2F6B-D302-D2FF98E6BF2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2" creationId="{E825089F-34C3-F123-58F6-DDB798DD8D2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4" creationId="{B23F46BC-6B86-D0ED-F56F-F181C97140E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5" creationId="{00EB02FA-B9C5-2A27-8895-919DA3E6925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6" creationId="{3DCA9230-A55C-AC87-873E-A2212159A23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7" creationId="{1AB64E81-FC96-EB97-4CD4-2D28CA5E21F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8" creationId="{239F620A-5F73-D7E7-3603-F607509FC1D7}"/>
          </ac:spMkLst>
        </pc:spChg>
        <pc:spChg chg="mod">
          <ac:chgData name="Georgi Ivanov" userId="7e1b55540891ebeb" providerId="LiveId" clId="{D5C2B1E3-3E17-44F0-8B7A-9E0928E1AB27}" dt="2024-09-25T13:29:55.013" v="1611" actId="6549"/>
          <ac:spMkLst>
            <pc:docMk/>
            <pc:sldMk cId="597583266" sldId="312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0" creationId="{3913D318-7088-8049-D83C-755FFC9B6A3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4" creationId="{ECE458BD-EA47-D0EC-5002-16F5D44C50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5" creationId="{920B1FBC-AA52-1A72-B7B1-E0318EC19C6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9" creationId="{A757410D-18BF-EC61-5AA2-95550C08C78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0" creationId="{44FCFE9C-5488-4628-9172-DD024CA2B8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1" creationId="{CB2AA025-2EFB-917C-02A4-7F6984F605F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2" creationId="{446B356C-3AED-53F6-0442-949434C9508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3" creationId="{3142DB72-01D1-9315-969B-10BEEC5614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4" creationId="{C208AA75-17DF-4884-08E2-43C922A4281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5" creationId="{EBB87C99-AEED-2525-7A7F-D7ED48FC480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6" creationId="{51EBCDAD-F759-CFB1-2444-D94FB442C386}"/>
          </ac:spMkLst>
        </pc:spChg>
        <pc:spChg chg="mod">
          <ac:chgData name="Georgi Ivanov" userId="7e1b55540891ebeb" providerId="LiveId" clId="{D5C2B1E3-3E17-44F0-8B7A-9E0928E1AB27}" dt="2024-09-25T13:29:55.768" v="1612" actId="1076"/>
          <ac:spMkLst>
            <pc:docMk/>
            <pc:sldMk cId="597583266" sldId="312"/>
            <ac:spMk id="77" creationId="{6FF0B403-FADC-424A-A227-59D6B88F245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2" creationId="{59079928-4DE9-9B5B-A774-197F89C5A6A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3" creationId="{372CEE38-B425-4861-D6CB-44E6A2761F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4" creationId="{4FE4962B-35CC-B22A-64D3-71B81B57B7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5" creationId="{611A1CA5-7C4E-F05A-9030-0D9A88D9F31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6" creationId="{28D56F2D-69C7-8EC9-3D05-CF9932AAAC8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7" creationId="{B7B0BA18-8645-310F-93BF-857932DCCB4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8" creationId="{6C07D9F3-008D-6DE7-7F20-B7F57025E52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9" creationId="{5EC10B6C-5399-FCAF-682C-DD7586694D4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0" creationId="{D6167F22-5E99-DD6F-180B-CE43DAC2680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1" creationId="{B13134A4-34BA-ED55-91FE-04E79379855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2" creationId="{C07F2A62-5C1F-A9A8-D2F5-07E222AD597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3" creationId="{ED884486-A0AA-CB16-AA25-1A1C239EA25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4" creationId="{503C717E-AD5B-AA0E-95DC-99A8972B180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5" creationId="{BA949D84-860D-ACDD-CE6E-2C7E7AFCC4E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6" creationId="{A6ED1CD1-B0BF-780B-CAB4-CFC6FDF4F24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7" creationId="{B8618363-568A-63AB-A554-F231BB03A46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8" creationId="{2E749551-46E9-B4A6-70B9-787924FE1B6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9" creationId="{2C407AB5-EC5E-CDAE-5EC2-0DE8176D66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0" creationId="{C73B4997-53E8-8915-A02D-628AFDC00C0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1" creationId="{013750E3-D584-9089-62B9-7A3A50D6FB9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2" creationId="{7509D462-AE38-590F-D3C5-70A8D76B99F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3" creationId="{08F320B5-3DBD-BB30-2C1B-E4BA51DF8E95}"/>
          </ac:spMkLst>
        </pc:s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4" creationId="{9B4A43A2-CB6C-FA35-C5F9-32E2E1610A7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5" creationId="{1781A014-B959-13E0-699E-C0BB54C08E22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8" creationId="{B0E4F883-8759-0DC8-4F5E-9E7A2A3C1927}"/>
          </ac:grpSpMkLst>
        </pc:gr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66" creationId="{F0B97F7F-40F1-ACE2-A21B-BB1E8DC4EE3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7" creationId="{C092E02E-AD67-702F-6B80-296DD9EE499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8" creationId="{60478DCF-8E4B-6A42-54F8-E02944CCAA90}"/>
          </ac:grpSpMkLst>
        </pc:grpChg>
        <pc:grpChg chg="add del 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104" creationId="{5522CA18-8EF2-9C4C-4276-14C8AD795E24}"/>
          </ac:grpSpMkLst>
        </pc:grpChg>
        <pc:grpChg chg="add mod">
          <ac:chgData name="Georgi Ivanov" userId="7e1b55540891ebeb" providerId="LiveId" clId="{D5C2B1E3-3E17-44F0-8B7A-9E0928E1AB27}" dt="2024-09-25T14:10:11.013" v="1812" actId="1076"/>
          <ac:grpSpMkLst>
            <pc:docMk/>
            <pc:sldMk cId="597583266" sldId="312"/>
            <ac:grpSpMk id="105" creationId="{90607832-4B84-32D5-692D-6AE7BD412C1A}"/>
          </ac:grpSpMkLst>
        </pc:grpChg>
        <pc:picChg chg="del">
          <ac:chgData name="Georgi Ivanov" userId="7e1b55540891ebeb" providerId="LiveId" clId="{D5C2B1E3-3E17-44F0-8B7A-9E0928E1AB27}" dt="2024-09-25T13:30:19.062" v="1613" actId="478"/>
          <ac:picMkLst>
            <pc:docMk/>
            <pc:sldMk cId="597583266" sldId="312"/>
            <ac:picMk id="3" creationId="{DB4F0400-51F6-DEFA-BF32-6C2CE7E690FE}"/>
          </ac:picMkLst>
        </pc:picChg>
        <pc:picChg chg="mod">
          <ac:chgData name="Georgi Ivanov" userId="7e1b55540891ebeb" providerId="LiveId" clId="{D5C2B1E3-3E17-44F0-8B7A-9E0928E1AB27}" dt="2024-09-25T14:10:07.370" v="1810" actId="1076"/>
          <ac:picMkLst>
            <pc:docMk/>
            <pc:sldMk cId="597583266" sldId="312"/>
            <ac:picMk id="53" creationId="{E1377084-21E0-42A7-B144-A69CF5A6D83D}"/>
          </ac:picMkLst>
        </pc:picChg>
      </pc:sldChg>
      <pc:sldChg chg="modSp add mod">
        <pc:chgData name="Georgi Ivanov" userId="7e1b55540891ebeb" providerId="LiveId" clId="{D5C2B1E3-3E17-44F0-8B7A-9E0928E1AB27}" dt="2024-09-25T13:38:07.690" v="1808" actId="6549"/>
        <pc:sldMkLst>
          <pc:docMk/>
          <pc:sldMk cId="2974178012" sldId="313"/>
        </pc:sldMkLst>
        <pc:spChg chg="mod">
          <ac:chgData name="Georgi Ivanov" userId="7e1b55540891ebeb" providerId="LiveId" clId="{D5C2B1E3-3E17-44F0-8B7A-9E0928E1AB27}" dt="2024-09-25T13:34:04.471" v="1656" actId="20577"/>
          <ac:spMkLst>
            <pc:docMk/>
            <pc:sldMk cId="2974178012" sldId="313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3:38:07.690" v="1808" actId="6549"/>
          <ac:spMkLst>
            <pc:docMk/>
            <pc:sldMk cId="2974178012" sldId="313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5T13:35:35.393" v="1722" actId="20577"/>
        <pc:sldMkLst>
          <pc:docMk/>
          <pc:sldMk cId="4062221807" sldId="314"/>
        </pc:sldMkLst>
        <pc:spChg chg="mod">
          <ac:chgData name="Georgi Ivanov" userId="7e1b55540891ebeb" providerId="LiveId" clId="{D5C2B1E3-3E17-44F0-8B7A-9E0928E1AB27}" dt="2024-09-25T13:35:35.393" v="1722" actId="20577"/>
          <ac:spMkLst>
            <pc:docMk/>
            <pc:sldMk cId="4062221807" sldId="314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39.823" v="1749" actId="20577"/>
        <pc:sldMkLst>
          <pc:docMk/>
          <pc:sldMk cId="2218441124" sldId="315"/>
        </pc:sldMkLst>
        <pc:spChg chg="mod">
          <ac:chgData name="Georgi Ivanov" userId="7e1b55540891ebeb" providerId="LiveId" clId="{D5C2B1E3-3E17-44F0-8B7A-9E0928E1AB27}" dt="2024-09-25T13:36:39.823" v="1749" actId="20577"/>
          <ac:spMkLst>
            <pc:docMk/>
            <pc:sldMk cId="2218441124" sldId="315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56.118" v="1771" actId="20577"/>
        <pc:sldMkLst>
          <pc:docMk/>
          <pc:sldMk cId="1330836399" sldId="316"/>
        </pc:sldMkLst>
        <pc:spChg chg="mod">
          <ac:chgData name="Georgi Ivanov" userId="7e1b55540891ebeb" providerId="LiveId" clId="{D5C2B1E3-3E17-44F0-8B7A-9E0928E1AB27}" dt="2024-09-25T13:36:56.118" v="1771" actId="20577"/>
          <ac:spMkLst>
            <pc:docMk/>
            <pc:sldMk cId="1330836399" sldId="316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56:51.630" v="3357" actId="20577"/>
        <pc:sldMkLst>
          <pc:docMk/>
          <pc:sldMk cId="3968225869" sldId="317"/>
        </pc:sldMkLst>
        <pc:spChg chg="mod">
          <ac:chgData name="Georgi Ivanov" userId="7e1b55540891ebeb" providerId="LiveId" clId="{D5C2B1E3-3E17-44F0-8B7A-9E0928E1AB27}" dt="2024-09-26T08:55:38.874" v="3311" actId="6549"/>
          <ac:spMkLst>
            <pc:docMk/>
            <pc:sldMk cId="3968225869" sldId="317"/>
            <ac:spMk id="2" creationId="{2A983584-8125-433F-B7FD-A6330AFCE3EC}"/>
          </ac:spMkLst>
        </pc:spChg>
        <pc:spChg chg="mod">
          <ac:chgData name="Georgi Ivanov" userId="7e1b55540891ebeb" providerId="LiveId" clId="{D5C2B1E3-3E17-44F0-8B7A-9E0928E1AB27}" dt="2024-09-26T08:54:22.972" v="3262" actId="20577"/>
          <ac:spMkLst>
            <pc:docMk/>
            <pc:sldMk cId="3968225869" sldId="317"/>
            <ac:spMk id="26" creationId="{36E732C1-2C67-4A83-94BE-81415B7B698F}"/>
          </ac:spMkLst>
        </pc:spChg>
        <pc:spChg chg="mod">
          <ac:chgData name="Georgi Ivanov" userId="7e1b55540891ebeb" providerId="LiveId" clId="{D5C2B1E3-3E17-44F0-8B7A-9E0928E1AB27}" dt="2024-09-26T08:55:54.675" v="3319" actId="20577"/>
          <ac:spMkLst>
            <pc:docMk/>
            <pc:sldMk cId="3968225869" sldId="317"/>
            <ac:spMk id="28" creationId="{04949708-1650-46EE-9E1D-BBA238AAD0CE}"/>
          </ac:spMkLst>
        </pc:spChg>
        <pc:spChg chg="del">
          <ac:chgData name="Georgi Ivanov" userId="7e1b55540891ebeb" providerId="LiveId" clId="{D5C2B1E3-3E17-44F0-8B7A-9E0928E1AB27}" dt="2024-09-26T08:11:39.165" v="2578" actId="478"/>
          <ac:spMkLst>
            <pc:docMk/>
            <pc:sldMk cId="3968225869" sldId="317"/>
            <ac:spMk id="30" creationId="{4A4458B5-D3CA-4017-966B-F7E5139F4FB8}"/>
          </ac:spMkLst>
        </pc:spChg>
        <pc:spChg chg="del mod">
          <ac:chgData name="Georgi Ivanov" userId="7e1b55540891ebeb" providerId="LiveId" clId="{D5C2B1E3-3E17-44F0-8B7A-9E0928E1AB27}" dt="2024-09-26T07:34:50.284" v="1934" actId="478"/>
          <ac:spMkLst>
            <pc:docMk/>
            <pc:sldMk cId="3968225869" sldId="317"/>
            <ac:spMk id="32" creationId="{EA345E1E-C02C-4C7A-9753-D9150403E484}"/>
          </ac:spMkLst>
        </pc:spChg>
        <pc:spChg chg="mod">
          <ac:chgData name="Georgi Ivanov" userId="7e1b55540891ebeb" providerId="LiveId" clId="{D5C2B1E3-3E17-44F0-8B7A-9E0928E1AB27}" dt="2024-09-26T08:54:40.062" v="3309" actId="14100"/>
          <ac:spMkLst>
            <pc:docMk/>
            <pc:sldMk cId="3968225869" sldId="317"/>
            <ac:spMk id="70" creationId="{8CB062A2-EF5E-4F6B-AEED-58A1A5EBE2BE}"/>
          </ac:spMkLst>
        </pc:spChg>
        <pc:spChg chg="mod">
          <ac:chgData name="Georgi Ivanov" userId="7e1b55540891ebeb" providerId="LiveId" clId="{D5C2B1E3-3E17-44F0-8B7A-9E0928E1AB27}" dt="2024-09-26T07:37:45.379" v="2082" actId="20577"/>
          <ac:spMkLst>
            <pc:docMk/>
            <pc:sldMk cId="3968225869" sldId="317"/>
            <ac:spMk id="71" creationId="{47295709-0295-482F-A07E-40FF05549F66}"/>
          </ac:spMkLst>
        </pc:spChg>
        <pc:spChg chg="del mod">
          <ac:chgData name="Georgi Ivanov" userId="7e1b55540891ebeb" providerId="LiveId" clId="{D5C2B1E3-3E17-44F0-8B7A-9E0928E1AB27}" dt="2024-09-26T08:12:09.363" v="2622" actId="478"/>
          <ac:spMkLst>
            <pc:docMk/>
            <pc:sldMk cId="3968225869" sldId="317"/>
            <ac:spMk id="72" creationId="{B2E55744-FFA5-4AAE-8A64-335E3A5D6AF2}"/>
          </ac:spMkLst>
        </pc:spChg>
        <pc:spChg chg="del">
          <ac:chgData name="Georgi Ivanov" userId="7e1b55540891ebeb" providerId="LiveId" clId="{D5C2B1E3-3E17-44F0-8B7A-9E0928E1AB27}" dt="2024-09-26T07:36:43.990" v="2032" actId="478"/>
          <ac:spMkLst>
            <pc:docMk/>
            <pc:sldMk cId="3968225869" sldId="317"/>
            <ac:spMk id="73" creationId="{77ECAF41-A868-4B2A-B240-FD4978E0CACD}"/>
          </ac:spMkLst>
        </pc:spChg>
        <pc:spChg chg="mod">
          <ac:chgData name="Georgi Ivanov" userId="7e1b55540891ebeb" providerId="LiveId" clId="{D5C2B1E3-3E17-44F0-8B7A-9E0928E1AB27}" dt="2024-09-26T08:54:46.769" v="3310" actId="14100"/>
          <ac:spMkLst>
            <pc:docMk/>
            <pc:sldMk cId="3968225869" sldId="317"/>
            <ac:spMk id="74" creationId="{45B8D857-A9C5-4F00-B990-951D6E5A400A}"/>
          </ac:spMkLst>
        </pc:spChg>
        <pc:spChg chg="mod">
          <ac:chgData name="Georgi Ivanov" userId="7e1b55540891ebeb" providerId="LiveId" clId="{D5C2B1E3-3E17-44F0-8B7A-9E0928E1AB27}" dt="2024-09-26T08:56:51.630" v="3357" actId="20577"/>
          <ac:spMkLst>
            <pc:docMk/>
            <pc:sldMk cId="3968225869" sldId="317"/>
            <ac:spMk id="75" creationId="{D5935D29-AC8D-4F44-971A-8BC019DC40F3}"/>
          </ac:spMkLst>
        </pc:spChg>
        <pc:spChg chg="del">
          <ac:chgData name="Georgi Ivanov" userId="7e1b55540891ebeb" providerId="LiveId" clId="{D5C2B1E3-3E17-44F0-8B7A-9E0928E1AB27}" dt="2024-09-26T08:12:11.066" v="2623" actId="478"/>
          <ac:spMkLst>
            <pc:docMk/>
            <pc:sldMk cId="3968225869" sldId="317"/>
            <ac:spMk id="76" creationId="{1A3A4A82-9153-4746-8C2F-41289BDC9087}"/>
          </ac:spMkLst>
        </pc:spChg>
        <pc:spChg chg="del">
          <ac:chgData name="Georgi Ivanov" userId="7e1b55540891ebeb" providerId="LiveId" clId="{D5C2B1E3-3E17-44F0-8B7A-9E0928E1AB27}" dt="2024-09-26T07:37:33.867" v="2079" actId="478"/>
          <ac:spMkLst>
            <pc:docMk/>
            <pc:sldMk cId="3968225869" sldId="317"/>
            <ac:spMk id="77" creationId="{68F0BD25-D912-45A7-B8EF-2A950EEEC428}"/>
          </ac:spMkLst>
        </pc:spChg>
        <pc:spChg chg="mod">
          <ac:chgData name="Georgi Ivanov" userId="7e1b55540891ebeb" providerId="LiveId" clId="{D5C2B1E3-3E17-44F0-8B7A-9E0928E1AB27}" dt="2024-09-26T07:39:01.832" v="2142" actId="6549"/>
          <ac:spMkLst>
            <pc:docMk/>
            <pc:sldMk cId="3968225869" sldId="317"/>
            <ac:spMk id="79" creationId="{A08418F9-6F30-4C82-A2EB-3403D86EA3B9}"/>
          </ac:spMkLst>
        </pc:spChg>
      </pc:sldChg>
      <pc:sldChg chg="addSp delSp modSp add mod">
        <pc:chgData name="Georgi Ivanov" userId="7e1b55540891ebeb" providerId="LiveId" clId="{D5C2B1E3-3E17-44F0-8B7A-9E0928E1AB27}" dt="2024-09-26T08:36:16.941" v="2940" actId="14100"/>
        <pc:sldMkLst>
          <pc:docMk/>
          <pc:sldMk cId="3114253258" sldId="318"/>
        </pc:sldMkLst>
        <pc:spChg chg="mod">
          <ac:chgData name="Georgi Ivanov" userId="7e1b55540891ebeb" providerId="LiveId" clId="{D5C2B1E3-3E17-44F0-8B7A-9E0928E1AB27}" dt="2024-09-26T08:32:57.147" v="2882" actId="20577"/>
          <ac:spMkLst>
            <pc:docMk/>
            <pc:sldMk cId="3114253258" sldId="318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6:16.941" v="2940" actId="14100"/>
          <ac:spMkLst>
            <pc:docMk/>
            <pc:sldMk cId="3114253258" sldId="318"/>
            <ac:spMk id="3" creationId="{E3616238-46A4-D94F-D84B-7DE0BA6D908A}"/>
          </ac:spMkLst>
        </pc:spChg>
        <pc:spChg chg="add mod">
          <ac:chgData name="Georgi Ivanov" userId="7e1b55540891ebeb" providerId="LiveId" clId="{D5C2B1E3-3E17-44F0-8B7A-9E0928E1AB27}" dt="2024-09-26T08:13:02.668" v="2633" actId="20577"/>
          <ac:spMkLst>
            <pc:docMk/>
            <pc:sldMk cId="3114253258" sldId="318"/>
            <ac:spMk id="9" creationId="{0F1492CF-C318-1C39-AB36-E7509D4A782A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0" creationId="{0A3AE838-7EF2-33F3-2F27-CF2D2C4FD56F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1" creationId="{B17E304D-A33A-5140-1CBE-D31917131920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2" creationId="{454771EB-1CAA-63DE-896A-313A66D5F3D6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4" creationId="{66CC43BA-1AD4-5E41-8824-048E6EB82BF1}"/>
          </ac:spMkLst>
        </pc:spChg>
        <pc:spChg chg="add mod">
          <ac:chgData name="Georgi Ivanov" userId="7e1b55540891ebeb" providerId="LiveId" clId="{D5C2B1E3-3E17-44F0-8B7A-9E0928E1AB27}" dt="2024-09-26T08:26:14.219" v="2861" actId="692"/>
          <ac:spMkLst>
            <pc:docMk/>
            <pc:sldMk cId="3114253258" sldId="318"/>
            <ac:spMk id="16" creationId="{322D5DCA-C5D2-2841-8432-314B07E4377F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7" creationId="{F613AD76-FF56-9D30-94FB-8009D3A31EB5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8" creationId="{4804B82E-E9C1-DD3E-AEBA-9A64F4356BD5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0" creationId="{FBF59936-22B5-CD21-A46C-D65F1BBFA4C2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5" creationId="{2E96F421-5C8F-D7AC-CB8E-03B2D301D14F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6" creationId="{0D0C9F23-91D5-336C-C039-30C996918F95}"/>
          </ac:spMkLst>
        </pc:spChg>
        <pc:spChg chg="add mod">
          <ac:chgData name="Georgi Ivanov" userId="7e1b55540891ebeb" providerId="LiveId" clId="{D5C2B1E3-3E17-44F0-8B7A-9E0928E1AB27}" dt="2024-09-26T08:25:59.616" v="2851" actId="692"/>
          <ac:spMkLst>
            <pc:docMk/>
            <pc:sldMk cId="3114253258" sldId="318"/>
            <ac:spMk id="27" creationId="{68C8C5F5-3012-6AF6-F015-9FE9157C5661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8" creationId="{DE1BAC05-780A-F182-180D-2016DD9E0341}"/>
          </ac:spMkLst>
        </pc:spChg>
        <pc:spChg chg="add mod">
          <ac:chgData name="Georgi Ivanov" userId="7e1b55540891ebeb" providerId="LiveId" clId="{D5C2B1E3-3E17-44F0-8B7A-9E0928E1AB27}" dt="2024-09-26T08:26:39.404" v="2871" actId="14100"/>
          <ac:spMkLst>
            <pc:docMk/>
            <pc:sldMk cId="3114253258" sldId="318"/>
            <ac:spMk id="29" creationId="{7842B163-C024-2021-2D8C-46F8569847FD}"/>
          </ac:spMkLst>
        </pc:spChg>
        <pc:spChg chg="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32" creationId="{908FC8D2-6733-720A-F151-C5C62EEBDE48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45" creationId="{0BB37216-136E-A61C-B974-E5890833BF41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5" creationId="{554707AD-820D-59B0-2BE1-998BA127E0F9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6" creationId="{C47B7FEE-892C-6CDB-2809-01030A8B509C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7" creationId="{289D8543-FB4B-2075-CC01-036ACCD94B0F}"/>
          </ac:spMkLst>
        </pc:s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8" creationId="{7BA130D8-B452-933E-E783-2365E14A4B0B}"/>
          </ac:grpSpMkLst>
        </pc:grpChg>
        <pc:grpChg chg="add mod">
          <ac:chgData name="Georgi Ivanov" userId="7e1b55540891ebeb" providerId="LiveId" clId="{D5C2B1E3-3E17-44F0-8B7A-9E0928E1AB27}" dt="2024-09-26T08:26:31.052" v="2868" actId="1076"/>
          <ac:grpSpMkLst>
            <pc:docMk/>
            <pc:sldMk cId="3114253258" sldId="318"/>
            <ac:grpSpMk id="21" creationId="{7C44D93E-75BD-25D4-DC4A-3F4D2F641C07}"/>
          </ac:grpSpMkLst>
        </pc:grpChg>
        <pc:grpChg chg="add 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0" creationId="{FDFE13F8-56BF-76AB-11D3-9BEBCBAE163E}"/>
          </ac:grpSpMkLst>
        </pc:grpChg>
        <pc:grpChg chg="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1" creationId="{ED45C24A-4E78-B3B4-1D3A-ECC8C89738DE}"/>
          </ac:grpSpMkLst>
        </pc:gr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2060" creationId="{27812AF3-C333-6385-08C1-BC8FB09934C8}"/>
          </ac:grpSpMkLst>
        </pc:grpChg>
        <pc:picChg chg="add 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13" creationId="{23621939-9A58-F6EF-A9AD-C5EBF9FB6CF1}"/>
          </ac:picMkLst>
        </pc:picChg>
        <pc:picChg chg="del">
          <ac:chgData name="Georgi Ivanov" userId="7e1b55540891ebeb" providerId="LiveId" clId="{D5C2B1E3-3E17-44F0-8B7A-9E0928E1AB27}" dt="2024-09-26T08:23:23.718" v="2839" actId="478"/>
          <ac:picMkLst>
            <pc:docMk/>
            <pc:sldMk cId="3114253258" sldId="318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2" creationId="{1276303E-E993-7E2D-B7E2-691DFBAB393C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3" creationId="{F3D224C1-68BD-D277-D914-D2ABE3569211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4" creationId="{07E65C55-E683-E636-A545-7CA58D5E0907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3" creationId="{F5C73E76-097F-93FD-BEE4-309FC39B7BFD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4" creationId="{C2F45153-0012-AAB1-CCDC-5D072D119719}"/>
          </ac:picMkLst>
        </pc:picChg>
        <pc:picChg chg="add">
          <ac:chgData name="Georgi Ivanov" userId="7e1b55540891ebeb" providerId="LiveId" clId="{D5C2B1E3-3E17-44F0-8B7A-9E0928E1AB27}" dt="2024-09-26T08:24:51.433" v="2841"/>
          <ac:picMkLst>
            <pc:docMk/>
            <pc:sldMk cId="3114253258" sldId="318"/>
            <ac:picMk id="18434" creationId="{8B62D5AD-1A4A-506C-5044-C2E623D2D6DD}"/>
          </ac:picMkLst>
        </pc:picChg>
        <pc:picChg chg="add mod">
          <ac:chgData name="Georgi Ivanov" userId="7e1b55540891ebeb" providerId="LiveId" clId="{D5C2B1E3-3E17-44F0-8B7A-9E0928E1AB27}" dt="2024-09-26T08:25:38.886" v="2849" actId="1076"/>
          <ac:picMkLst>
            <pc:docMk/>
            <pc:sldMk cId="3114253258" sldId="318"/>
            <ac:picMk id="18436" creationId="{E3727051-12D4-B553-BCB1-1209A2009600}"/>
          </ac:picMkLst>
        </pc:picChg>
      </pc:sldChg>
      <pc:sldChg chg="modSp add mod">
        <pc:chgData name="Georgi Ivanov" userId="7e1b55540891ebeb" providerId="LiveId" clId="{D5C2B1E3-3E17-44F0-8B7A-9E0928E1AB27}" dt="2024-09-26T08:47:23.398" v="3007"/>
        <pc:sldMkLst>
          <pc:docMk/>
          <pc:sldMk cId="1541607694" sldId="319"/>
        </pc:sldMkLst>
        <pc:spChg chg="mod">
          <ac:chgData name="Georgi Ivanov" userId="7e1b55540891ebeb" providerId="LiveId" clId="{D5C2B1E3-3E17-44F0-8B7A-9E0928E1AB27}" dt="2024-09-26T08:47:23.398" v="3007"/>
          <ac:spMkLst>
            <pc:docMk/>
            <pc:sldMk cId="1541607694" sldId="319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6T08:49:46.106" v="3018"/>
        <pc:sldMkLst>
          <pc:docMk/>
          <pc:sldMk cId="3041689042" sldId="320"/>
        </pc:sldMkLst>
        <pc:spChg chg="mod">
          <ac:chgData name="Georgi Ivanov" userId="7e1b55540891ebeb" providerId="LiveId" clId="{D5C2B1E3-3E17-44F0-8B7A-9E0928E1AB27}" dt="2024-09-26T08:48:10.959" v="3014" actId="20577"/>
          <ac:spMkLst>
            <pc:docMk/>
            <pc:sldMk cId="3041689042" sldId="32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9:46.106" v="3018"/>
          <ac:spMkLst>
            <pc:docMk/>
            <pc:sldMk cId="3041689042" sldId="320"/>
            <ac:spMk id="3" creationId="{E3616238-46A4-D94F-D84B-7DE0BA6D908A}"/>
          </ac:spMkLst>
        </pc:spChg>
      </pc:sldChg>
      <pc:sldChg chg="delSp modSp add mod ord">
        <pc:chgData name="Georgi Ivanov" userId="7e1b55540891ebeb" providerId="LiveId" clId="{D5C2B1E3-3E17-44F0-8B7A-9E0928E1AB27}" dt="2024-09-26T08:59:20.980" v="3424" actId="6549"/>
        <pc:sldMkLst>
          <pc:docMk/>
          <pc:sldMk cId="2881962423" sldId="321"/>
        </pc:sldMkLst>
        <pc:spChg chg="mod">
          <ac:chgData name="Georgi Ivanov" userId="7e1b55540891ebeb" providerId="LiveId" clId="{D5C2B1E3-3E17-44F0-8B7A-9E0928E1AB27}" dt="2024-09-26T08:53:01.369" v="3259" actId="20577"/>
          <ac:spMkLst>
            <pc:docMk/>
            <pc:sldMk cId="2881962423" sldId="32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9:20.980" v="3424" actId="6549"/>
          <ac:spMkLst>
            <pc:docMk/>
            <pc:sldMk cId="2881962423" sldId="321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4" creationId="{E3D17250-7924-92B4-E7B0-8FEB3F9B0CA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53:10.583" v="3260" actId="478"/>
          <ac:picMkLst>
            <pc:docMk/>
            <pc:sldMk cId="2881962423" sldId="321"/>
            <ac:picMk id="15" creationId="{FCC4914A-A8C0-9BC5-4089-27074B66A779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9B3D44-A0CC-4574-B33D-B138ED440CDA}" type="doc">
      <dgm:prSet loTypeId="urn:microsoft.com/office/officeart/2005/8/layout/hList7" loCatId="process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988F297-D15C-4C11-ADEB-B542C87EF07D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</dgm:t>
    </dgm:pt>
    <dgm:pt modelId="{FC68F2A7-E56B-4E99-AC26-B70C2BBEA1CB}" type="parTrans" cxnId="{DF0FA47E-C1A3-43B2-9450-71FD2FB5CB2F}">
      <dgm:prSet/>
      <dgm:spPr/>
      <dgm:t>
        <a:bodyPr/>
        <a:lstStyle/>
        <a:p>
          <a:endParaRPr lang="en-US"/>
        </a:p>
      </dgm:t>
    </dgm:pt>
    <dgm:pt modelId="{C77D1640-694D-43CF-8054-B2BA6DC55A69}" type="sibTrans" cxnId="{DF0FA47E-C1A3-43B2-9450-71FD2FB5CB2F}">
      <dgm:prSet/>
      <dgm:spPr/>
      <dgm:t>
        <a:bodyPr/>
        <a:lstStyle/>
        <a:p>
          <a:endParaRPr lang="en-US"/>
        </a:p>
      </dgm:t>
    </dgm:pt>
    <dgm:pt modelId="{402932E3-BE5D-402A-9C87-4600A418A01F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68C3631-174C-426D-81AB-1895C36C6B6E}" type="parTrans" cxnId="{F18B2708-C8DE-48BD-AB5C-4B535DD9B3F1}">
      <dgm:prSet/>
      <dgm:spPr/>
      <dgm:t>
        <a:bodyPr/>
        <a:lstStyle/>
        <a:p>
          <a:endParaRPr lang="en-US"/>
        </a:p>
      </dgm:t>
    </dgm:pt>
    <dgm:pt modelId="{B2632713-6510-4C01-8E47-FA1AC102F432}" type="sibTrans" cxnId="{F18B2708-C8DE-48BD-AB5C-4B535DD9B3F1}">
      <dgm:prSet/>
      <dgm:spPr/>
      <dgm:t>
        <a:bodyPr/>
        <a:lstStyle/>
        <a:p>
          <a:endParaRPr lang="en-US"/>
        </a:p>
      </dgm:t>
    </dgm:pt>
    <dgm:pt modelId="{7C965FE3-DD92-4091-88FE-D6D2EAF30BC1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</dgm:t>
    </dgm:pt>
    <dgm:pt modelId="{78501AFD-3110-4721-B8BC-883AB3F5ACC3}" type="parTrans" cxnId="{898AC3E4-0D9B-4921-B4E8-2CAB0598ECFA}">
      <dgm:prSet/>
      <dgm:spPr/>
      <dgm:t>
        <a:bodyPr/>
        <a:lstStyle/>
        <a:p>
          <a:endParaRPr lang="en-US"/>
        </a:p>
      </dgm:t>
    </dgm:pt>
    <dgm:pt modelId="{5CC58E07-8929-4D5D-9D46-9F35DA3F0B95}" type="sibTrans" cxnId="{898AC3E4-0D9B-4921-B4E8-2CAB0598ECFA}">
      <dgm:prSet/>
      <dgm:spPr/>
      <dgm:t>
        <a:bodyPr/>
        <a:lstStyle/>
        <a:p>
          <a:endParaRPr lang="en-US"/>
        </a:p>
      </dgm:t>
    </dgm:pt>
    <dgm:pt modelId="{17E1B48F-FFE9-4E3C-B286-2C8D78B67095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gm:t>
    </dgm:pt>
    <dgm:pt modelId="{000D60EA-F685-4B17-BE16-48AD51E8CF55}" type="parTrans" cxnId="{AE389B6F-A8E6-4DF8-AD1E-6DDD640C2836}">
      <dgm:prSet/>
      <dgm:spPr/>
      <dgm:t>
        <a:bodyPr/>
        <a:lstStyle/>
        <a:p>
          <a:endParaRPr lang="en-US"/>
        </a:p>
      </dgm:t>
    </dgm:pt>
    <dgm:pt modelId="{9B63D1FF-475E-4CA7-9FB6-5F7F8D9AE45C}" type="sibTrans" cxnId="{AE389B6F-A8E6-4DF8-AD1E-6DDD640C2836}">
      <dgm:prSet/>
      <dgm:spPr/>
      <dgm:t>
        <a:bodyPr/>
        <a:lstStyle/>
        <a:p>
          <a:endParaRPr lang="en-US"/>
        </a:p>
      </dgm:t>
    </dgm:pt>
    <dgm:pt modelId="{ABA0481D-5353-4284-8F70-8217ADE56E28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</dgm:t>
    </dgm:pt>
    <dgm:pt modelId="{9957A3A7-ABC0-4037-B6E3-1A8507F4FB17}" type="parTrans" cxnId="{04C57394-FF34-4446-8E22-1E82B07BCC38}">
      <dgm:prSet/>
      <dgm:spPr/>
      <dgm:t>
        <a:bodyPr/>
        <a:lstStyle/>
        <a:p>
          <a:endParaRPr lang="en-US"/>
        </a:p>
      </dgm:t>
    </dgm:pt>
    <dgm:pt modelId="{7ADBB19E-27FE-4532-9932-0EBBA36D98F1}" type="sibTrans" cxnId="{04C57394-FF34-4446-8E22-1E82B07BCC38}">
      <dgm:prSet/>
      <dgm:spPr/>
      <dgm:t>
        <a:bodyPr/>
        <a:lstStyle/>
        <a:p>
          <a:endParaRPr lang="en-US"/>
        </a:p>
      </dgm:t>
    </dgm:pt>
    <dgm:pt modelId="{6791FD48-50DD-45B6-A4E2-BBBC2B2FBE33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</dgm:t>
    </dgm:pt>
    <dgm:pt modelId="{F30FD5D5-DE9D-4E1D-8C73-DBC53B82D45B}" type="parTrans" cxnId="{D379AA4E-26AF-4F14-97D7-06992A590DD6}">
      <dgm:prSet/>
      <dgm:spPr/>
      <dgm:t>
        <a:bodyPr/>
        <a:lstStyle/>
        <a:p>
          <a:endParaRPr lang="en-US"/>
        </a:p>
      </dgm:t>
    </dgm:pt>
    <dgm:pt modelId="{4D233824-83F5-4FD9-875C-10D6CC7AD96B}" type="sibTrans" cxnId="{D379AA4E-26AF-4F14-97D7-06992A590DD6}">
      <dgm:prSet/>
      <dgm:spPr/>
      <dgm:t>
        <a:bodyPr/>
        <a:lstStyle/>
        <a:p>
          <a:endParaRPr lang="en-US"/>
        </a:p>
      </dgm:t>
    </dgm:pt>
    <dgm:pt modelId="{58AD87BF-8ED0-4BD5-9EEA-71BAD1A61B00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</dgm:t>
    </dgm:pt>
    <dgm:pt modelId="{A5AADC75-079A-48AE-9D57-D94FD8B1B710}" type="parTrans" cxnId="{FE6AD31B-B49D-4B57-AB9F-78B91F66B1E8}">
      <dgm:prSet/>
      <dgm:spPr/>
      <dgm:t>
        <a:bodyPr/>
        <a:lstStyle/>
        <a:p>
          <a:endParaRPr lang="en-US"/>
        </a:p>
      </dgm:t>
    </dgm:pt>
    <dgm:pt modelId="{E70B6A76-C687-42E0-8102-5945F60DE0DC}" type="sibTrans" cxnId="{FE6AD31B-B49D-4B57-AB9F-78B91F66B1E8}">
      <dgm:prSet/>
      <dgm:spPr/>
      <dgm:t>
        <a:bodyPr/>
        <a:lstStyle/>
        <a:p>
          <a:endParaRPr lang="en-US"/>
        </a:p>
      </dgm:t>
    </dgm:pt>
    <dgm:pt modelId="{56ABC171-25C6-4FCD-87C8-109D6312E6DA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EA26E50-8D74-48ED-B7D8-0DD7CBE75C9F}" type="parTrans" cxnId="{B3D0B5A1-57F5-4AA1-8A22-41E1E977FAAE}">
      <dgm:prSet/>
      <dgm:spPr/>
      <dgm:t>
        <a:bodyPr/>
        <a:lstStyle/>
        <a:p>
          <a:endParaRPr lang="en-US"/>
        </a:p>
      </dgm:t>
    </dgm:pt>
    <dgm:pt modelId="{9DDB3FC6-B9FA-430D-855F-9023834ABCFC}" type="sibTrans" cxnId="{B3D0B5A1-57F5-4AA1-8A22-41E1E977FAAE}">
      <dgm:prSet/>
      <dgm:spPr/>
      <dgm:t>
        <a:bodyPr/>
        <a:lstStyle/>
        <a:p>
          <a:endParaRPr lang="en-US"/>
        </a:p>
      </dgm:t>
    </dgm:pt>
    <dgm:pt modelId="{0CD84548-BFF6-4549-B6D6-56E3F96EF59C}">
      <dgm:prSet phldrT="[Text]" custT="1"/>
      <dgm:spPr/>
      <dgm:t>
        <a:bodyPr/>
        <a:lstStyle/>
        <a:p>
          <a:r>
            <a:rPr lang="en-US" sz="2400" b="0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</dgm:t>
    </dgm:pt>
    <dgm:pt modelId="{6DA2A878-1E2C-4D4E-98B0-0AA615306596}" type="sibTrans" cxnId="{A88B89D6-21AA-4059-BF05-67BF2D37C327}">
      <dgm:prSet/>
      <dgm:spPr/>
      <dgm:t>
        <a:bodyPr/>
        <a:lstStyle/>
        <a:p>
          <a:endParaRPr lang="en-US"/>
        </a:p>
      </dgm:t>
    </dgm:pt>
    <dgm:pt modelId="{F24A66F6-F3CE-43B0-918C-CA2DB2E57E0E}" type="parTrans" cxnId="{A88B89D6-21AA-4059-BF05-67BF2D37C327}">
      <dgm:prSet/>
      <dgm:spPr/>
      <dgm:t>
        <a:bodyPr/>
        <a:lstStyle/>
        <a:p>
          <a:endParaRPr lang="en-US"/>
        </a:p>
      </dgm:t>
    </dgm:pt>
    <dgm:pt modelId="{C0B4AD36-6ACD-40A7-BA65-4949F5E57312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gm:t>
    </dgm:pt>
    <dgm:pt modelId="{22E53CFD-911C-491B-8558-A30E5A54522E}" type="parTrans" cxnId="{E16C2B63-402E-4E18-A43D-E1E4022C5F17}">
      <dgm:prSet/>
      <dgm:spPr/>
      <dgm:t>
        <a:bodyPr/>
        <a:lstStyle/>
        <a:p>
          <a:endParaRPr lang="en-US"/>
        </a:p>
      </dgm:t>
    </dgm:pt>
    <dgm:pt modelId="{CE94F93C-375A-414D-A7F2-B47DAF51C29D}" type="sibTrans" cxnId="{E16C2B63-402E-4E18-A43D-E1E4022C5F17}">
      <dgm:prSet/>
      <dgm:spPr/>
      <dgm:t>
        <a:bodyPr/>
        <a:lstStyle/>
        <a:p>
          <a:endParaRPr lang="en-US"/>
        </a:p>
      </dgm:t>
    </dgm:pt>
    <dgm:pt modelId="{72045757-4B40-412D-B9B0-445ABDE9951B}">
      <dgm:prSet phldrT="[Text]" custT="1"/>
      <dgm:spPr/>
      <dgm:t>
        <a:bodyPr/>
        <a:lstStyle/>
        <a:p>
          <a:r>
            <a:rPr lang="en-US" sz="2400" b="0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gm:t>
    </dgm:pt>
    <dgm:pt modelId="{5457746A-8FEE-41F9-AB54-1655F9AB0D5F}" type="parTrans" cxnId="{06F3720F-624C-4466-A629-B3C2C711F73A}">
      <dgm:prSet/>
      <dgm:spPr/>
      <dgm:t>
        <a:bodyPr/>
        <a:lstStyle/>
        <a:p>
          <a:endParaRPr lang="en-US"/>
        </a:p>
      </dgm:t>
    </dgm:pt>
    <dgm:pt modelId="{07309092-F5B7-4B77-AA46-74A60476F952}" type="sibTrans" cxnId="{06F3720F-624C-4466-A629-B3C2C711F73A}">
      <dgm:prSet/>
      <dgm:spPr/>
      <dgm:t>
        <a:bodyPr/>
        <a:lstStyle/>
        <a:p>
          <a:endParaRPr lang="en-US"/>
        </a:p>
      </dgm:t>
    </dgm:pt>
    <dgm:pt modelId="{BFD59BD2-5035-42C1-A56A-57D903C47EAE}">
      <dgm:prSet phldrT="[Text]" custT="1"/>
      <dgm:spPr/>
      <dgm:t>
        <a:bodyPr/>
        <a:lstStyle/>
        <a:p>
          <a:r>
            <a:rPr lang="en-US" sz="2000" b="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2BBA93C7-B449-4884-B8B6-18DF69D5D1AF}" type="parTrans" cxnId="{BF1F1F7E-6E54-41AC-8D23-34F60150390C}">
      <dgm:prSet/>
      <dgm:spPr/>
    </dgm:pt>
    <dgm:pt modelId="{6FB33CDA-5B57-4BEC-B01E-3F4A64482742}" type="sibTrans" cxnId="{BF1F1F7E-6E54-41AC-8D23-34F60150390C}">
      <dgm:prSet/>
      <dgm:spPr/>
    </dgm:pt>
    <dgm:pt modelId="{655CBF77-9A63-421A-AFBE-75B9C45ABE67}" type="pres">
      <dgm:prSet presAssocID="{AC9B3D44-A0CC-4574-B33D-B138ED440CDA}" presName="Name0" presStyleCnt="0">
        <dgm:presLayoutVars>
          <dgm:dir/>
          <dgm:resizeHandles val="exact"/>
        </dgm:presLayoutVars>
      </dgm:prSet>
      <dgm:spPr/>
    </dgm:pt>
    <dgm:pt modelId="{0EFEA4C1-0E3A-4093-8E30-F6AF7CF7EBA7}" type="pres">
      <dgm:prSet presAssocID="{AC9B3D44-A0CC-4574-B33D-B138ED440CDA}" presName="fgShape" presStyleLbl="fgShp" presStyleIdx="0" presStyleCnt="1" custScaleX="64542"/>
      <dgm:spPr>
        <a:noFill/>
        <a:ln>
          <a:noFill/>
        </a:ln>
      </dgm:spPr>
    </dgm:pt>
    <dgm:pt modelId="{C7E1B2EE-19E1-4800-9431-55A7119D50CB}" type="pres">
      <dgm:prSet presAssocID="{AC9B3D44-A0CC-4574-B33D-B138ED440CDA}" presName="linComp" presStyleCnt="0"/>
      <dgm:spPr/>
    </dgm:pt>
    <dgm:pt modelId="{90D0FBA3-1821-4689-81FD-C94EE3C7F9B9}" type="pres">
      <dgm:prSet presAssocID="{7988F297-D15C-4C11-ADEB-B542C87EF07D}" presName="compNode" presStyleCnt="0"/>
      <dgm:spPr/>
    </dgm:pt>
    <dgm:pt modelId="{55687E20-1FA8-4643-A582-4248149F6612}" type="pres">
      <dgm:prSet presAssocID="{7988F297-D15C-4C11-ADEB-B542C87EF07D}" presName="bkgdShape" presStyleLbl="node1" presStyleIdx="0" presStyleCnt="3"/>
      <dgm:spPr/>
    </dgm:pt>
    <dgm:pt modelId="{DE84AD04-89E5-47A2-970F-14B7B8209691}" type="pres">
      <dgm:prSet presAssocID="{7988F297-D15C-4C11-ADEB-B542C87EF07D}" presName="nodeTx" presStyleLbl="node1" presStyleIdx="0" presStyleCnt="3">
        <dgm:presLayoutVars>
          <dgm:bulletEnabled val="1"/>
        </dgm:presLayoutVars>
      </dgm:prSet>
      <dgm:spPr/>
    </dgm:pt>
    <dgm:pt modelId="{402F1CC4-5695-41E1-8AA7-CD19DF34AFCF}" type="pres">
      <dgm:prSet presAssocID="{7988F297-D15C-4C11-ADEB-B542C87EF07D}" presName="invisiNode" presStyleLbl="node1" presStyleIdx="0" presStyleCnt="3"/>
      <dgm:spPr/>
    </dgm:pt>
    <dgm:pt modelId="{C75BD736-1A41-4863-B89F-6A03CC41A67F}" type="pres">
      <dgm:prSet presAssocID="{7988F297-D15C-4C11-ADEB-B542C87EF07D}" presName="imagNode" presStyleLbl="fgImgPlace1" presStyleIdx="0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2D1CA7CF-A6A6-4557-8E3C-937803DA951B}" type="pres">
      <dgm:prSet presAssocID="{C77D1640-694D-43CF-8054-B2BA6DC55A69}" presName="sibTrans" presStyleLbl="sibTrans2D1" presStyleIdx="0" presStyleCnt="0"/>
      <dgm:spPr/>
    </dgm:pt>
    <dgm:pt modelId="{463304A1-6D59-4BB7-A3DA-FF9962AC7ADA}" type="pres">
      <dgm:prSet presAssocID="{7C965FE3-DD92-4091-88FE-D6D2EAF30BC1}" presName="compNode" presStyleCnt="0"/>
      <dgm:spPr/>
    </dgm:pt>
    <dgm:pt modelId="{8F606117-646B-465E-8292-304040BE07E0}" type="pres">
      <dgm:prSet presAssocID="{7C965FE3-DD92-4091-88FE-D6D2EAF30BC1}" presName="bkgdShape" presStyleLbl="node1" presStyleIdx="1" presStyleCnt="3"/>
      <dgm:spPr/>
    </dgm:pt>
    <dgm:pt modelId="{FCD3DA1D-3C8E-441D-8097-9302C824752C}" type="pres">
      <dgm:prSet presAssocID="{7C965FE3-DD92-4091-88FE-D6D2EAF30BC1}" presName="nodeTx" presStyleLbl="node1" presStyleIdx="1" presStyleCnt="3">
        <dgm:presLayoutVars>
          <dgm:bulletEnabled val="1"/>
        </dgm:presLayoutVars>
      </dgm:prSet>
      <dgm:spPr/>
    </dgm:pt>
    <dgm:pt modelId="{B6818608-1529-42C1-B5FE-D7FA495704D3}" type="pres">
      <dgm:prSet presAssocID="{7C965FE3-DD92-4091-88FE-D6D2EAF30BC1}" presName="invisiNode" presStyleLbl="node1" presStyleIdx="1" presStyleCnt="3"/>
      <dgm:spPr/>
    </dgm:pt>
    <dgm:pt modelId="{C71662BE-94CA-4868-A3CB-A0F5E15A0B81}" type="pres">
      <dgm:prSet presAssocID="{7C965FE3-DD92-4091-88FE-D6D2EAF30BC1}" presName="imagNode" presStyleLbl="fgImgPlace1" presStyleIdx="1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F40CF809-2810-4860-AC73-A20EF510A847}" type="pres">
      <dgm:prSet presAssocID="{5CC58E07-8929-4D5D-9D46-9F35DA3F0B95}" presName="sibTrans" presStyleLbl="sibTrans2D1" presStyleIdx="0" presStyleCnt="0"/>
      <dgm:spPr/>
    </dgm:pt>
    <dgm:pt modelId="{23ECCDE1-3A92-4955-9255-57E782108C5D}" type="pres">
      <dgm:prSet presAssocID="{58AD87BF-8ED0-4BD5-9EEA-71BAD1A61B00}" presName="compNode" presStyleCnt="0"/>
      <dgm:spPr/>
    </dgm:pt>
    <dgm:pt modelId="{8D06AC0C-77D1-4D09-BBD4-B2552996B2C6}" type="pres">
      <dgm:prSet presAssocID="{58AD87BF-8ED0-4BD5-9EEA-71BAD1A61B00}" presName="bkgdShape" presStyleLbl="node1" presStyleIdx="2" presStyleCnt="3"/>
      <dgm:spPr/>
    </dgm:pt>
    <dgm:pt modelId="{8A56D2D2-A8F0-4611-B107-DFDD92198B79}" type="pres">
      <dgm:prSet presAssocID="{58AD87BF-8ED0-4BD5-9EEA-71BAD1A61B00}" presName="nodeTx" presStyleLbl="node1" presStyleIdx="2" presStyleCnt="3">
        <dgm:presLayoutVars>
          <dgm:bulletEnabled val="1"/>
        </dgm:presLayoutVars>
      </dgm:prSet>
      <dgm:spPr/>
    </dgm:pt>
    <dgm:pt modelId="{291F2235-B9EE-490C-B7C1-A80F213454F3}" type="pres">
      <dgm:prSet presAssocID="{58AD87BF-8ED0-4BD5-9EEA-71BAD1A61B00}" presName="invisiNode" presStyleLbl="node1" presStyleIdx="2" presStyleCnt="3"/>
      <dgm:spPr/>
    </dgm:pt>
    <dgm:pt modelId="{3121972C-1790-4663-AE61-2148EF6FDCD2}" type="pres">
      <dgm:prSet presAssocID="{58AD87BF-8ED0-4BD5-9EEA-71BAD1A61B00}" presName="imagNode" presStyleLbl="fgImgPlace1" presStyleIdx="2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</dgm:ptLst>
  <dgm:cxnLst>
    <dgm:cxn modelId="{C07A3307-1FC5-43B5-99FD-5087A4E87D50}" type="presOf" srcId="{7988F297-D15C-4C11-ADEB-B542C87EF07D}" destId="{DE84AD04-89E5-47A2-970F-14B7B8209691}" srcOrd="1" destOrd="0" presId="urn:microsoft.com/office/officeart/2005/8/layout/hList7"/>
    <dgm:cxn modelId="{F18B2708-C8DE-48BD-AB5C-4B535DD9B3F1}" srcId="{7988F297-D15C-4C11-ADEB-B542C87EF07D}" destId="{402932E3-BE5D-402A-9C87-4600A418A01F}" srcOrd="1" destOrd="0" parTransId="{C68C3631-174C-426D-81AB-1895C36C6B6E}" sibTransId="{B2632713-6510-4C01-8E47-FA1AC102F432}"/>
    <dgm:cxn modelId="{54CC080A-467F-44FC-AEF5-8D96F54E3C2D}" type="presOf" srcId="{C0B4AD36-6ACD-40A7-BA65-4949F5E57312}" destId="{8F606117-646B-465E-8292-304040BE07E0}" srcOrd="0" destOrd="4" presId="urn:microsoft.com/office/officeart/2005/8/layout/hList7"/>
    <dgm:cxn modelId="{0CC17F0B-5DB9-4460-B7BC-CEB874E1AC5C}" type="presOf" srcId="{BFD59BD2-5035-42C1-A56A-57D903C47EAE}" destId="{8F606117-646B-465E-8292-304040BE07E0}" srcOrd="0" destOrd="3" presId="urn:microsoft.com/office/officeart/2005/8/layout/hList7"/>
    <dgm:cxn modelId="{06F3720F-624C-4466-A629-B3C2C711F73A}" srcId="{58AD87BF-8ED0-4BD5-9EEA-71BAD1A61B00}" destId="{72045757-4B40-412D-B9B0-445ABDE9951B}" srcOrd="1" destOrd="0" parTransId="{5457746A-8FEE-41F9-AB54-1655F9AB0D5F}" sibTransId="{07309092-F5B7-4B77-AA46-74A60476F952}"/>
    <dgm:cxn modelId="{681F421A-03FA-4010-A579-265A61B4E188}" type="presOf" srcId="{72045757-4B40-412D-B9B0-445ABDE9951B}" destId="{8D06AC0C-77D1-4D09-BBD4-B2552996B2C6}" srcOrd="0" destOrd="2" presId="urn:microsoft.com/office/officeart/2005/8/layout/hList7"/>
    <dgm:cxn modelId="{FE6AD31B-B49D-4B57-AB9F-78B91F66B1E8}" srcId="{AC9B3D44-A0CC-4574-B33D-B138ED440CDA}" destId="{58AD87BF-8ED0-4BD5-9EEA-71BAD1A61B00}" srcOrd="2" destOrd="0" parTransId="{A5AADC75-079A-48AE-9D57-D94FD8B1B710}" sibTransId="{E70B6A76-C687-42E0-8102-5945F60DE0DC}"/>
    <dgm:cxn modelId="{AAFB1C29-FEC3-496A-906B-DE58C017700D}" type="presOf" srcId="{17E1B48F-FFE9-4E3C-B286-2C8D78B67095}" destId="{DE84AD04-89E5-47A2-970F-14B7B8209691}" srcOrd="1" destOrd="3" presId="urn:microsoft.com/office/officeart/2005/8/layout/hList7"/>
    <dgm:cxn modelId="{5230E333-8F6F-4069-BB60-87AB0A14129E}" type="presOf" srcId="{ABA0481D-5353-4284-8F70-8217ADE56E28}" destId="{FCD3DA1D-3C8E-441D-8097-9302C824752C}" srcOrd="1" destOrd="1" presId="urn:microsoft.com/office/officeart/2005/8/layout/hList7"/>
    <dgm:cxn modelId="{DB6DD935-1D56-4039-A26E-26B3291F8142}" type="presOf" srcId="{BFD59BD2-5035-42C1-A56A-57D903C47EAE}" destId="{FCD3DA1D-3C8E-441D-8097-9302C824752C}" srcOrd="1" destOrd="3" presId="urn:microsoft.com/office/officeart/2005/8/layout/hList7"/>
    <dgm:cxn modelId="{163AA036-80B4-427B-8262-B6892B2D9459}" type="presOf" srcId="{56ABC171-25C6-4FCD-87C8-109D6312E6DA}" destId="{DE84AD04-89E5-47A2-970F-14B7B8209691}" srcOrd="1" destOrd="1" presId="urn:microsoft.com/office/officeart/2005/8/layout/hList7"/>
    <dgm:cxn modelId="{BB3EFE3C-AE5A-4BA8-8FA2-F29727FDB581}" type="presOf" srcId="{0CD84548-BFF6-4549-B6D6-56E3F96EF59C}" destId="{8D06AC0C-77D1-4D09-BBD4-B2552996B2C6}" srcOrd="0" destOrd="1" presId="urn:microsoft.com/office/officeart/2005/8/layout/hList7"/>
    <dgm:cxn modelId="{6B04EF41-F31A-49B7-85DB-55A25B55D4D5}" type="presOf" srcId="{17E1B48F-FFE9-4E3C-B286-2C8D78B67095}" destId="{55687E20-1FA8-4643-A582-4248149F6612}" srcOrd="0" destOrd="3" presId="urn:microsoft.com/office/officeart/2005/8/layout/hList7"/>
    <dgm:cxn modelId="{762C5262-BFCF-4271-8451-C6835986ED21}" type="presOf" srcId="{6791FD48-50DD-45B6-A4E2-BBBC2B2FBE33}" destId="{FCD3DA1D-3C8E-441D-8097-9302C824752C}" srcOrd="1" destOrd="2" presId="urn:microsoft.com/office/officeart/2005/8/layout/hList7"/>
    <dgm:cxn modelId="{E16C2B63-402E-4E18-A43D-E1E4022C5F17}" srcId="{7C965FE3-DD92-4091-88FE-D6D2EAF30BC1}" destId="{C0B4AD36-6ACD-40A7-BA65-4949F5E57312}" srcOrd="3" destOrd="0" parTransId="{22E53CFD-911C-491B-8558-A30E5A54522E}" sibTransId="{CE94F93C-375A-414D-A7F2-B47DAF51C29D}"/>
    <dgm:cxn modelId="{EB419344-8E70-4002-835C-0D661E0636FB}" type="presOf" srcId="{C0B4AD36-6ACD-40A7-BA65-4949F5E57312}" destId="{FCD3DA1D-3C8E-441D-8097-9302C824752C}" srcOrd="1" destOrd="4" presId="urn:microsoft.com/office/officeart/2005/8/layout/hList7"/>
    <dgm:cxn modelId="{A06A1C45-1C34-4F5A-A4A4-50E185429DC1}" type="presOf" srcId="{7C965FE3-DD92-4091-88FE-D6D2EAF30BC1}" destId="{FCD3DA1D-3C8E-441D-8097-9302C824752C}" srcOrd="1" destOrd="0" presId="urn:microsoft.com/office/officeart/2005/8/layout/hList7"/>
    <dgm:cxn modelId="{4C112F47-C8E1-41C6-AC00-F679A37AA0F1}" type="presOf" srcId="{5CC58E07-8929-4D5D-9D46-9F35DA3F0B95}" destId="{F40CF809-2810-4860-AC73-A20EF510A847}" srcOrd="0" destOrd="0" presId="urn:microsoft.com/office/officeart/2005/8/layout/hList7"/>
    <dgm:cxn modelId="{8E90A567-7842-4BE3-8EB0-7E2CE1CBA192}" type="presOf" srcId="{402932E3-BE5D-402A-9C87-4600A418A01F}" destId="{55687E20-1FA8-4643-A582-4248149F6612}" srcOrd="0" destOrd="2" presId="urn:microsoft.com/office/officeart/2005/8/layout/hList7"/>
    <dgm:cxn modelId="{9286044A-5CE8-4F7A-9AFA-F3632AE5315B}" type="presOf" srcId="{56ABC171-25C6-4FCD-87C8-109D6312E6DA}" destId="{55687E20-1FA8-4643-A582-4248149F6612}" srcOrd="0" destOrd="1" presId="urn:microsoft.com/office/officeart/2005/8/layout/hList7"/>
    <dgm:cxn modelId="{EB5F056A-1D9F-4148-BD0C-18F7B4A676D3}" type="presOf" srcId="{402932E3-BE5D-402A-9C87-4600A418A01F}" destId="{DE84AD04-89E5-47A2-970F-14B7B8209691}" srcOrd="1" destOrd="2" presId="urn:microsoft.com/office/officeart/2005/8/layout/hList7"/>
    <dgm:cxn modelId="{D379AA4E-26AF-4F14-97D7-06992A590DD6}" srcId="{7C965FE3-DD92-4091-88FE-D6D2EAF30BC1}" destId="{6791FD48-50DD-45B6-A4E2-BBBC2B2FBE33}" srcOrd="1" destOrd="0" parTransId="{F30FD5D5-DE9D-4E1D-8C73-DBC53B82D45B}" sibTransId="{4D233824-83F5-4FD9-875C-10D6CC7AD96B}"/>
    <dgm:cxn modelId="{AE389B6F-A8E6-4DF8-AD1E-6DDD640C2836}" srcId="{7988F297-D15C-4C11-ADEB-B542C87EF07D}" destId="{17E1B48F-FFE9-4E3C-B286-2C8D78B67095}" srcOrd="2" destOrd="0" parTransId="{000D60EA-F685-4B17-BE16-48AD51E8CF55}" sibTransId="{9B63D1FF-475E-4CA7-9FB6-5F7F8D9AE45C}"/>
    <dgm:cxn modelId="{9F586C75-FFD3-4F75-B47A-02D6BDE3F582}" type="presOf" srcId="{0CD84548-BFF6-4549-B6D6-56E3F96EF59C}" destId="{8A56D2D2-A8F0-4611-B107-DFDD92198B79}" srcOrd="1" destOrd="1" presId="urn:microsoft.com/office/officeart/2005/8/layout/hList7"/>
    <dgm:cxn modelId="{85016B76-B0E7-4B30-BAEE-AE33B8A17A1D}" type="presOf" srcId="{6791FD48-50DD-45B6-A4E2-BBBC2B2FBE33}" destId="{8F606117-646B-465E-8292-304040BE07E0}" srcOrd="0" destOrd="2" presId="urn:microsoft.com/office/officeart/2005/8/layout/hList7"/>
    <dgm:cxn modelId="{660ACD76-9BA4-4C77-9A8D-D0C340E478F9}" type="presOf" srcId="{C77D1640-694D-43CF-8054-B2BA6DC55A69}" destId="{2D1CA7CF-A6A6-4557-8E3C-937803DA951B}" srcOrd="0" destOrd="0" presId="urn:microsoft.com/office/officeart/2005/8/layout/hList7"/>
    <dgm:cxn modelId="{4B3CAC77-35C3-45AB-995A-7393F77010BC}" type="presOf" srcId="{72045757-4B40-412D-B9B0-445ABDE9951B}" destId="{8A56D2D2-A8F0-4611-B107-DFDD92198B79}" srcOrd="1" destOrd="2" presId="urn:microsoft.com/office/officeart/2005/8/layout/hList7"/>
    <dgm:cxn modelId="{ACCCED78-9E7D-4763-99F0-7C7BC4C4AEA1}" type="presOf" srcId="{7C965FE3-DD92-4091-88FE-D6D2EAF30BC1}" destId="{8F606117-646B-465E-8292-304040BE07E0}" srcOrd="0" destOrd="0" presId="urn:microsoft.com/office/officeart/2005/8/layout/hList7"/>
    <dgm:cxn modelId="{BF1F1F7E-6E54-41AC-8D23-34F60150390C}" srcId="{7C965FE3-DD92-4091-88FE-D6D2EAF30BC1}" destId="{BFD59BD2-5035-42C1-A56A-57D903C47EAE}" srcOrd="2" destOrd="0" parTransId="{2BBA93C7-B449-4884-B8B6-18DF69D5D1AF}" sibTransId="{6FB33CDA-5B57-4BEC-B01E-3F4A64482742}"/>
    <dgm:cxn modelId="{DF0FA47E-C1A3-43B2-9450-71FD2FB5CB2F}" srcId="{AC9B3D44-A0CC-4574-B33D-B138ED440CDA}" destId="{7988F297-D15C-4C11-ADEB-B542C87EF07D}" srcOrd="0" destOrd="0" parTransId="{FC68F2A7-E56B-4E99-AC26-B70C2BBEA1CB}" sibTransId="{C77D1640-694D-43CF-8054-B2BA6DC55A69}"/>
    <dgm:cxn modelId="{04C57394-FF34-4446-8E22-1E82B07BCC38}" srcId="{7C965FE3-DD92-4091-88FE-D6D2EAF30BC1}" destId="{ABA0481D-5353-4284-8F70-8217ADE56E28}" srcOrd="0" destOrd="0" parTransId="{9957A3A7-ABC0-4037-B6E3-1A8507F4FB17}" sibTransId="{7ADBB19E-27FE-4532-9932-0EBBA36D98F1}"/>
    <dgm:cxn modelId="{14C21C9D-CBE5-44AD-850D-3E3548759A52}" type="presOf" srcId="{7988F297-D15C-4C11-ADEB-B542C87EF07D}" destId="{55687E20-1FA8-4643-A582-4248149F6612}" srcOrd="0" destOrd="0" presId="urn:microsoft.com/office/officeart/2005/8/layout/hList7"/>
    <dgm:cxn modelId="{B3D0B5A1-57F5-4AA1-8A22-41E1E977FAAE}" srcId="{7988F297-D15C-4C11-ADEB-B542C87EF07D}" destId="{56ABC171-25C6-4FCD-87C8-109D6312E6DA}" srcOrd="0" destOrd="0" parTransId="{DEA26E50-8D74-48ED-B7D8-0DD7CBE75C9F}" sibTransId="{9DDB3FC6-B9FA-430D-855F-9023834ABCFC}"/>
    <dgm:cxn modelId="{8C04FCB5-1DD4-4993-A160-83BA936D8DB8}" type="presOf" srcId="{58AD87BF-8ED0-4BD5-9EEA-71BAD1A61B00}" destId="{8A56D2D2-A8F0-4611-B107-DFDD92198B79}" srcOrd="1" destOrd="0" presId="urn:microsoft.com/office/officeart/2005/8/layout/hList7"/>
    <dgm:cxn modelId="{136F9DD3-163E-4B5C-90BF-0B126A565928}" type="presOf" srcId="{ABA0481D-5353-4284-8F70-8217ADE56E28}" destId="{8F606117-646B-465E-8292-304040BE07E0}" srcOrd="0" destOrd="1" presId="urn:microsoft.com/office/officeart/2005/8/layout/hList7"/>
    <dgm:cxn modelId="{A88B89D6-21AA-4059-BF05-67BF2D37C327}" srcId="{58AD87BF-8ED0-4BD5-9EEA-71BAD1A61B00}" destId="{0CD84548-BFF6-4549-B6D6-56E3F96EF59C}" srcOrd="0" destOrd="0" parTransId="{F24A66F6-F3CE-43B0-918C-CA2DB2E57E0E}" sibTransId="{6DA2A878-1E2C-4D4E-98B0-0AA615306596}"/>
    <dgm:cxn modelId="{898AC3E4-0D9B-4921-B4E8-2CAB0598ECFA}" srcId="{AC9B3D44-A0CC-4574-B33D-B138ED440CDA}" destId="{7C965FE3-DD92-4091-88FE-D6D2EAF30BC1}" srcOrd="1" destOrd="0" parTransId="{78501AFD-3110-4721-B8BC-883AB3F5ACC3}" sibTransId="{5CC58E07-8929-4D5D-9D46-9F35DA3F0B95}"/>
    <dgm:cxn modelId="{716E73E9-CCA1-4119-8939-C117B7BFB6AA}" type="presOf" srcId="{AC9B3D44-A0CC-4574-B33D-B138ED440CDA}" destId="{655CBF77-9A63-421A-AFBE-75B9C45ABE67}" srcOrd="0" destOrd="0" presId="urn:microsoft.com/office/officeart/2005/8/layout/hList7"/>
    <dgm:cxn modelId="{3F416FFF-4779-498A-BF09-DA80203FDFEC}" type="presOf" srcId="{58AD87BF-8ED0-4BD5-9EEA-71BAD1A61B00}" destId="{8D06AC0C-77D1-4D09-BBD4-B2552996B2C6}" srcOrd="0" destOrd="0" presId="urn:microsoft.com/office/officeart/2005/8/layout/hList7"/>
    <dgm:cxn modelId="{93B8D754-60DD-4F68-BA71-B5999D904B7A}" type="presParOf" srcId="{655CBF77-9A63-421A-AFBE-75B9C45ABE67}" destId="{0EFEA4C1-0E3A-4093-8E30-F6AF7CF7EBA7}" srcOrd="0" destOrd="0" presId="urn:microsoft.com/office/officeart/2005/8/layout/hList7"/>
    <dgm:cxn modelId="{773D76A8-056F-4CBA-BE9F-53794513C95E}" type="presParOf" srcId="{655CBF77-9A63-421A-AFBE-75B9C45ABE67}" destId="{C7E1B2EE-19E1-4800-9431-55A7119D50CB}" srcOrd="1" destOrd="0" presId="urn:microsoft.com/office/officeart/2005/8/layout/hList7"/>
    <dgm:cxn modelId="{0602CD2F-403E-4C2A-B9BF-CED7AC6D00F4}" type="presParOf" srcId="{C7E1B2EE-19E1-4800-9431-55A7119D50CB}" destId="{90D0FBA3-1821-4689-81FD-C94EE3C7F9B9}" srcOrd="0" destOrd="0" presId="urn:microsoft.com/office/officeart/2005/8/layout/hList7"/>
    <dgm:cxn modelId="{A29F5343-EE26-4D07-9A11-6F3269768007}" type="presParOf" srcId="{90D0FBA3-1821-4689-81FD-C94EE3C7F9B9}" destId="{55687E20-1FA8-4643-A582-4248149F6612}" srcOrd="0" destOrd="0" presId="urn:microsoft.com/office/officeart/2005/8/layout/hList7"/>
    <dgm:cxn modelId="{55AFA55E-BFB1-42E0-9A23-243A39AD8AD3}" type="presParOf" srcId="{90D0FBA3-1821-4689-81FD-C94EE3C7F9B9}" destId="{DE84AD04-89E5-47A2-970F-14B7B8209691}" srcOrd="1" destOrd="0" presId="urn:microsoft.com/office/officeart/2005/8/layout/hList7"/>
    <dgm:cxn modelId="{EC11A346-AC66-47F0-AD51-F0E9BF9F4E36}" type="presParOf" srcId="{90D0FBA3-1821-4689-81FD-C94EE3C7F9B9}" destId="{402F1CC4-5695-41E1-8AA7-CD19DF34AFCF}" srcOrd="2" destOrd="0" presId="urn:microsoft.com/office/officeart/2005/8/layout/hList7"/>
    <dgm:cxn modelId="{2CB67B0A-5DC5-4F38-9B0A-99F695D826AF}" type="presParOf" srcId="{90D0FBA3-1821-4689-81FD-C94EE3C7F9B9}" destId="{C75BD736-1A41-4863-B89F-6A03CC41A67F}" srcOrd="3" destOrd="0" presId="urn:microsoft.com/office/officeart/2005/8/layout/hList7"/>
    <dgm:cxn modelId="{1A6D9030-673F-4FB2-8B2D-939B9ACD5BF6}" type="presParOf" srcId="{C7E1B2EE-19E1-4800-9431-55A7119D50CB}" destId="{2D1CA7CF-A6A6-4557-8E3C-937803DA951B}" srcOrd="1" destOrd="0" presId="urn:microsoft.com/office/officeart/2005/8/layout/hList7"/>
    <dgm:cxn modelId="{B8EF0B88-6200-49DC-A2A6-BCC26FE3F465}" type="presParOf" srcId="{C7E1B2EE-19E1-4800-9431-55A7119D50CB}" destId="{463304A1-6D59-4BB7-A3DA-FF9962AC7ADA}" srcOrd="2" destOrd="0" presId="urn:microsoft.com/office/officeart/2005/8/layout/hList7"/>
    <dgm:cxn modelId="{44B3D35E-13F6-4D7D-B3EC-C36E1D3C4054}" type="presParOf" srcId="{463304A1-6D59-4BB7-A3DA-FF9962AC7ADA}" destId="{8F606117-646B-465E-8292-304040BE07E0}" srcOrd="0" destOrd="0" presId="urn:microsoft.com/office/officeart/2005/8/layout/hList7"/>
    <dgm:cxn modelId="{52E464FC-EE9F-409E-8A32-360128C5761D}" type="presParOf" srcId="{463304A1-6D59-4BB7-A3DA-FF9962AC7ADA}" destId="{FCD3DA1D-3C8E-441D-8097-9302C824752C}" srcOrd="1" destOrd="0" presId="urn:microsoft.com/office/officeart/2005/8/layout/hList7"/>
    <dgm:cxn modelId="{DE5B5CEB-A64D-4637-9631-531F56C6D3C8}" type="presParOf" srcId="{463304A1-6D59-4BB7-A3DA-FF9962AC7ADA}" destId="{B6818608-1529-42C1-B5FE-D7FA495704D3}" srcOrd="2" destOrd="0" presId="urn:microsoft.com/office/officeart/2005/8/layout/hList7"/>
    <dgm:cxn modelId="{8ADF51CC-55DA-4B88-9A18-B5A1F649CF51}" type="presParOf" srcId="{463304A1-6D59-4BB7-A3DA-FF9962AC7ADA}" destId="{C71662BE-94CA-4868-A3CB-A0F5E15A0B81}" srcOrd="3" destOrd="0" presId="urn:microsoft.com/office/officeart/2005/8/layout/hList7"/>
    <dgm:cxn modelId="{6FBC9443-51B0-459C-8B22-61C8FC5C1A3B}" type="presParOf" srcId="{C7E1B2EE-19E1-4800-9431-55A7119D50CB}" destId="{F40CF809-2810-4860-AC73-A20EF510A847}" srcOrd="3" destOrd="0" presId="urn:microsoft.com/office/officeart/2005/8/layout/hList7"/>
    <dgm:cxn modelId="{1979E312-5295-4A2F-8CE4-0C86DB7A93EC}" type="presParOf" srcId="{C7E1B2EE-19E1-4800-9431-55A7119D50CB}" destId="{23ECCDE1-3A92-4955-9255-57E782108C5D}" srcOrd="4" destOrd="0" presId="urn:microsoft.com/office/officeart/2005/8/layout/hList7"/>
    <dgm:cxn modelId="{31DA3375-26FC-4991-84BB-BB28F945BEDA}" type="presParOf" srcId="{23ECCDE1-3A92-4955-9255-57E782108C5D}" destId="{8D06AC0C-77D1-4D09-BBD4-B2552996B2C6}" srcOrd="0" destOrd="0" presId="urn:microsoft.com/office/officeart/2005/8/layout/hList7"/>
    <dgm:cxn modelId="{EA06842D-B976-4008-AC24-01F3664968E9}" type="presParOf" srcId="{23ECCDE1-3A92-4955-9255-57E782108C5D}" destId="{8A56D2D2-A8F0-4611-B107-DFDD92198B79}" srcOrd="1" destOrd="0" presId="urn:microsoft.com/office/officeart/2005/8/layout/hList7"/>
    <dgm:cxn modelId="{C60A5C42-0DC6-4960-A7F6-91B9F6BB789C}" type="presParOf" srcId="{23ECCDE1-3A92-4955-9255-57E782108C5D}" destId="{291F2235-B9EE-490C-B7C1-A80F213454F3}" srcOrd="2" destOrd="0" presId="urn:microsoft.com/office/officeart/2005/8/layout/hList7"/>
    <dgm:cxn modelId="{F0F80D46-BCD6-4A60-8218-E90044CFFCF6}" type="presParOf" srcId="{23ECCDE1-3A92-4955-9255-57E782108C5D}" destId="{3121972C-1790-4663-AE61-2148EF6FDCD2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87E20-1FA8-4643-A582-4248149F6612}">
      <dsp:nvSpPr>
        <dsp:cNvPr id="0" name=""/>
        <dsp:cNvSpPr/>
      </dsp:nvSpPr>
      <dsp:spPr>
        <a:xfrm>
          <a:off x="2323" y="0"/>
          <a:ext cx="3614453" cy="435133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sp:txBody>
      <dsp:txXfrm>
        <a:off x="2323" y="1740535"/>
        <a:ext cx="3614453" cy="1740535"/>
      </dsp:txXfrm>
    </dsp:sp>
    <dsp:sp modelId="{C75BD736-1A41-4863-B89F-6A03CC41A67F}">
      <dsp:nvSpPr>
        <dsp:cNvPr id="0" name=""/>
        <dsp:cNvSpPr/>
      </dsp:nvSpPr>
      <dsp:spPr>
        <a:xfrm>
          <a:off x="1085052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F606117-646B-465E-8292-304040BE07E0}">
      <dsp:nvSpPr>
        <dsp:cNvPr id="0" name=""/>
        <dsp:cNvSpPr/>
      </dsp:nvSpPr>
      <dsp:spPr>
        <a:xfrm>
          <a:off x="3725210" y="0"/>
          <a:ext cx="3614453" cy="435133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kern="120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sp:txBody>
      <dsp:txXfrm>
        <a:off x="3725210" y="1740535"/>
        <a:ext cx="3614453" cy="1740535"/>
      </dsp:txXfrm>
    </dsp:sp>
    <dsp:sp modelId="{C71662BE-94CA-4868-A3CB-A0F5E15A0B81}">
      <dsp:nvSpPr>
        <dsp:cNvPr id="0" name=""/>
        <dsp:cNvSpPr/>
      </dsp:nvSpPr>
      <dsp:spPr>
        <a:xfrm>
          <a:off x="4807939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D06AC0C-77D1-4D09-BBD4-B2552996B2C6}">
      <dsp:nvSpPr>
        <dsp:cNvPr id="0" name=""/>
        <dsp:cNvSpPr/>
      </dsp:nvSpPr>
      <dsp:spPr>
        <a:xfrm>
          <a:off x="7448098" y="0"/>
          <a:ext cx="3614453" cy="435133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0" kern="1200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0" kern="1200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sp:txBody>
      <dsp:txXfrm>
        <a:off x="7448098" y="1740535"/>
        <a:ext cx="3614453" cy="1740535"/>
      </dsp:txXfrm>
    </dsp:sp>
    <dsp:sp modelId="{3121972C-1790-4663-AE61-2148EF6FDCD2}">
      <dsp:nvSpPr>
        <dsp:cNvPr id="0" name=""/>
        <dsp:cNvSpPr/>
      </dsp:nvSpPr>
      <dsp:spPr>
        <a:xfrm>
          <a:off x="8530827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EFEA4C1-0E3A-4093-8E30-F6AF7CF7EBA7}">
      <dsp:nvSpPr>
        <dsp:cNvPr id="0" name=""/>
        <dsp:cNvSpPr/>
      </dsp:nvSpPr>
      <dsp:spPr>
        <a:xfrm>
          <a:off x="2247351" y="3481070"/>
          <a:ext cx="6570172" cy="652700"/>
        </a:xfrm>
        <a:prstGeom prst="leftRightArrow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D770-57B5-41AE-94A5-8172B3072938}" type="datetimeFigureOut">
              <a:rPr lang="en-US" smtClean="0"/>
              <a:t>9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21A22-6757-4DFC-AC52-B0B349051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1249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2736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4412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2855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6302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437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113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908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736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9426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534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390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of </a:t>
            </a:r>
            <a:r>
              <a:rPr lang="en-US" dirty="0" err="1"/>
              <a:t>KeyVault</a:t>
            </a:r>
            <a:r>
              <a:rPr lang="en-US" dirty="0"/>
              <a:t> access mode switch issue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0115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of </a:t>
            </a:r>
            <a:r>
              <a:rPr lang="en-US" dirty="0" err="1"/>
              <a:t>KeyVault</a:t>
            </a:r>
            <a:r>
              <a:rPr lang="en-US" dirty="0"/>
              <a:t> access mode switch issue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9893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of </a:t>
            </a:r>
            <a:r>
              <a:rPr lang="en-US" dirty="0" err="1"/>
              <a:t>KeyVault</a:t>
            </a:r>
            <a:r>
              <a:rPr lang="en-US" dirty="0"/>
              <a:t> access mode switch issue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9732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0285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5FFCFD5-7549-46DE-99AE-A249D5D5F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91C388-EB4B-48EF-9782-5EF82E15A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30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1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30.png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1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30.png"/><Relationship Id="rId4" Type="http://schemas.openxmlformats.org/officeDocument/2006/relationships/image" Target="../media/image31.png"/><Relationship Id="rId9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2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31.png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1.png"/><Relationship Id="rId7" Type="http://schemas.openxmlformats.org/officeDocument/2006/relationships/image" Target="../media/image29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resource-manager/managed-applications/create-uidefinition-functions" TargetMode="External"/><Relationship Id="rId7" Type="http://schemas.openxmlformats.org/officeDocument/2006/relationships/image" Target="../media/image42.png"/><Relationship Id="rId2" Type="http://schemas.openxmlformats.org/officeDocument/2006/relationships/hyperlink" Target="https://learn.microsoft.com/en-us/azure/azure-resource-manager/managed-applications/create-uidefinition-element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portal.azure.com/#view/Microsoft_Azure_CreateUIDef/FormSandboxBlade" TargetMode="Externa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atevnotes.com/using-blades-from-the-azure-portal-for-ui-of-template-specs/" TargetMode="External"/><Relationship Id="rId2" Type="http://schemas.openxmlformats.org/officeDocument/2006/relationships/hyperlink" Target="https://github.com/Azure/portaldocs/tree/main/portal-sdk/generated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gatevnotes.com/uncovering-blade-names-and-parameters-azure-portal/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22.png"/><Relationship Id="rId7" Type="http://schemas.openxmlformats.org/officeDocument/2006/relationships/hyperlink" Target="https://learn.microsoft.com/en-us/azure/azure-resource-manager/bicep/modules#file-in-template-spec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29.png"/><Relationship Id="rId10" Type="http://schemas.openxmlformats.org/officeDocument/2006/relationships/image" Target="../media/image50.png"/><Relationship Id="rId4" Type="http://schemas.openxmlformats.org/officeDocument/2006/relationships/image" Target="../media/image28.png"/><Relationship Id="rId9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2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2.png"/><Relationship Id="rId4" Type="http://schemas.openxmlformats.org/officeDocument/2006/relationships/image" Target="../media/image2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2.png"/><Relationship Id="rId4" Type="http://schemas.openxmlformats.org/officeDocument/2006/relationships/image" Target="../media/image2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57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55.pn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54.jp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5.jpe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8.png"/><Relationship Id="rId4" Type="http://schemas.openxmlformats.org/officeDocument/2006/relationships/image" Target="../media/image4.png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jpe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8.png"/><Relationship Id="rId4" Type="http://schemas.openxmlformats.org/officeDocument/2006/relationships/image" Target="../media/image4.png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12" Type="http://schemas.microsoft.com/office/2007/relationships/hdphoto" Target="../media/hdphoto2.wdp"/><Relationship Id="rId2" Type="http://schemas.openxmlformats.org/officeDocument/2006/relationships/tags" Target="../tags/tag8.xml"/><Relationship Id="rId16" Type="http://schemas.openxmlformats.org/officeDocument/2006/relationships/image" Target="../media/image19.png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8.png"/><Relationship Id="rId10" Type="http://schemas.microsoft.com/office/2007/relationships/hdphoto" Target="../media/hdphoto1.wdp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5.png"/><Relationship Id="rId14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22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11" Type="http://schemas.microsoft.com/office/2007/relationships/hdphoto" Target="../media/hdphoto4.wdp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43">
            <a:extLst>
              <a:ext uri="{FF2B5EF4-FFF2-40B4-BE49-F238E27FC236}">
                <a16:creationId xmlns:a16="http://schemas.microsoft.com/office/drawing/2014/main" id="{A3A27C55-E75A-9B9F-F55F-87FEA568A8F9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7575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Who can live with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497" y="2147455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075" y="2460607"/>
            <a:ext cx="1064041" cy="94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946998" y="2418433"/>
            <a:ext cx="4375108" cy="3937917"/>
          </a:xfrm>
          <a:custGeom>
            <a:avLst/>
            <a:gdLst>
              <a:gd name="connsiteX0" fmla="*/ 0 w 4375108"/>
              <a:gd name="connsiteY0" fmla="*/ 656333 h 3937917"/>
              <a:gd name="connsiteX1" fmla="*/ 656333 w 4375108"/>
              <a:gd name="connsiteY1" fmla="*/ 0 h 3937917"/>
              <a:gd name="connsiteX2" fmla="*/ 1227989 w 4375108"/>
              <a:gd name="connsiteY2" fmla="*/ 0 h 3937917"/>
              <a:gd name="connsiteX3" fmla="*/ 1707771 w 4375108"/>
              <a:gd name="connsiteY3" fmla="*/ 0 h 3937917"/>
              <a:gd name="connsiteX4" fmla="*/ 2156930 w 4375108"/>
              <a:gd name="connsiteY4" fmla="*/ 0 h 3937917"/>
              <a:gd name="connsiteX5" fmla="*/ 2697961 w 4375108"/>
              <a:gd name="connsiteY5" fmla="*/ 0 h 3937917"/>
              <a:gd name="connsiteX6" fmla="*/ 3177744 w 4375108"/>
              <a:gd name="connsiteY6" fmla="*/ 0 h 3937917"/>
              <a:gd name="connsiteX7" fmla="*/ 3718775 w 4375108"/>
              <a:gd name="connsiteY7" fmla="*/ 0 h 3937917"/>
              <a:gd name="connsiteX8" fmla="*/ 4375108 w 4375108"/>
              <a:gd name="connsiteY8" fmla="*/ 656333 h 3937917"/>
              <a:gd name="connsiteX9" fmla="*/ 4375108 w 4375108"/>
              <a:gd name="connsiteY9" fmla="*/ 1128878 h 3937917"/>
              <a:gd name="connsiteX10" fmla="*/ 4375108 w 4375108"/>
              <a:gd name="connsiteY10" fmla="*/ 1653928 h 3937917"/>
              <a:gd name="connsiteX11" fmla="*/ 4375108 w 4375108"/>
              <a:gd name="connsiteY11" fmla="*/ 2178979 h 3937917"/>
              <a:gd name="connsiteX12" fmla="*/ 4375108 w 4375108"/>
              <a:gd name="connsiteY12" fmla="*/ 2677776 h 3937917"/>
              <a:gd name="connsiteX13" fmla="*/ 4375108 w 4375108"/>
              <a:gd name="connsiteY13" fmla="*/ 3281584 h 3937917"/>
              <a:gd name="connsiteX14" fmla="*/ 3718775 w 4375108"/>
              <a:gd name="connsiteY14" fmla="*/ 3937917 h 3937917"/>
              <a:gd name="connsiteX15" fmla="*/ 3208368 w 4375108"/>
              <a:gd name="connsiteY15" fmla="*/ 3937917 h 3937917"/>
              <a:gd name="connsiteX16" fmla="*/ 2636712 w 4375108"/>
              <a:gd name="connsiteY16" fmla="*/ 3937917 h 3937917"/>
              <a:gd name="connsiteX17" fmla="*/ 2126305 w 4375108"/>
              <a:gd name="connsiteY17" fmla="*/ 3937917 h 3937917"/>
              <a:gd name="connsiteX18" fmla="*/ 1707771 w 4375108"/>
              <a:gd name="connsiteY18" fmla="*/ 3937917 h 3937917"/>
              <a:gd name="connsiteX19" fmla="*/ 1258613 w 4375108"/>
              <a:gd name="connsiteY19" fmla="*/ 3937917 h 3937917"/>
              <a:gd name="connsiteX20" fmla="*/ 656333 w 4375108"/>
              <a:gd name="connsiteY20" fmla="*/ 3937917 h 3937917"/>
              <a:gd name="connsiteX21" fmla="*/ 0 w 4375108"/>
              <a:gd name="connsiteY21" fmla="*/ 3281584 h 3937917"/>
              <a:gd name="connsiteX22" fmla="*/ 0 w 4375108"/>
              <a:gd name="connsiteY22" fmla="*/ 2809039 h 3937917"/>
              <a:gd name="connsiteX23" fmla="*/ 0 w 4375108"/>
              <a:gd name="connsiteY23" fmla="*/ 2362746 h 3937917"/>
              <a:gd name="connsiteX24" fmla="*/ 0 w 4375108"/>
              <a:gd name="connsiteY24" fmla="*/ 1916453 h 3937917"/>
              <a:gd name="connsiteX25" fmla="*/ 0 w 4375108"/>
              <a:gd name="connsiteY25" fmla="*/ 1391403 h 3937917"/>
              <a:gd name="connsiteX26" fmla="*/ 0 w 4375108"/>
              <a:gd name="connsiteY26" fmla="*/ 656333 h 393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75108" h="3937917" extrusionOk="0">
                <a:moveTo>
                  <a:pt x="0" y="656333"/>
                </a:moveTo>
                <a:cubicBezTo>
                  <a:pt x="-53664" y="260749"/>
                  <a:pt x="200201" y="35148"/>
                  <a:pt x="656333" y="0"/>
                </a:cubicBezTo>
                <a:cubicBezTo>
                  <a:pt x="791172" y="-21331"/>
                  <a:pt x="976989" y="19243"/>
                  <a:pt x="1227989" y="0"/>
                </a:cubicBezTo>
                <a:cubicBezTo>
                  <a:pt x="1478989" y="-19243"/>
                  <a:pt x="1563239" y="11114"/>
                  <a:pt x="1707771" y="0"/>
                </a:cubicBezTo>
                <a:cubicBezTo>
                  <a:pt x="1852303" y="-11114"/>
                  <a:pt x="1977016" y="4091"/>
                  <a:pt x="2156930" y="0"/>
                </a:cubicBezTo>
                <a:cubicBezTo>
                  <a:pt x="2336844" y="-4091"/>
                  <a:pt x="2441860" y="58836"/>
                  <a:pt x="2697961" y="0"/>
                </a:cubicBezTo>
                <a:cubicBezTo>
                  <a:pt x="2954062" y="-58836"/>
                  <a:pt x="2980773" y="47787"/>
                  <a:pt x="3177744" y="0"/>
                </a:cubicBezTo>
                <a:cubicBezTo>
                  <a:pt x="3374715" y="-47787"/>
                  <a:pt x="3561208" y="53114"/>
                  <a:pt x="3718775" y="0"/>
                </a:cubicBezTo>
                <a:cubicBezTo>
                  <a:pt x="4080166" y="-10412"/>
                  <a:pt x="4315394" y="376836"/>
                  <a:pt x="4375108" y="656333"/>
                </a:cubicBezTo>
                <a:cubicBezTo>
                  <a:pt x="4425720" y="890971"/>
                  <a:pt x="4349991" y="1020878"/>
                  <a:pt x="4375108" y="1128878"/>
                </a:cubicBezTo>
                <a:cubicBezTo>
                  <a:pt x="4400225" y="1236878"/>
                  <a:pt x="4334060" y="1439980"/>
                  <a:pt x="4375108" y="1653928"/>
                </a:cubicBezTo>
                <a:cubicBezTo>
                  <a:pt x="4416156" y="1867876"/>
                  <a:pt x="4368587" y="2004086"/>
                  <a:pt x="4375108" y="2178979"/>
                </a:cubicBezTo>
                <a:cubicBezTo>
                  <a:pt x="4381629" y="2353872"/>
                  <a:pt x="4348615" y="2548119"/>
                  <a:pt x="4375108" y="2677776"/>
                </a:cubicBezTo>
                <a:cubicBezTo>
                  <a:pt x="4401601" y="2807433"/>
                  <a:pt x="4363583" y="3121841"/>
                  <a:pt x="4375108" y="3281584"/>
                </a:cubicBezTo>
                <a:cubicBezTo>
                  <a:pt x="4399136" y="3614238"/>
                  <a:pt x="3994104" y="3904225"/>
                  <a:pt x="3718775" y="3937917"/>
                </a:cubicBezTo>
                <a:cubicBezTo>
                  <a:pt x="3597537" y="3942691"/>
                  <a:pt x="3429939" y="3880596"/>
                  <a:pt x="3208368" y="3937917"/>
                </a:cubicBezTo>
                <a:cubicBezTo>
                  <a:pt x="2986797" y="3995238"/>
                  <a:pt x="2830953" y="3929748"/>
                  <a:pt x="2636712" y="3937917"/>
                </a:cubicBezTo>
                <a:cubicBezTo>
                  <a:pt x="2442471" y="3946086"/>
                  <a:pt x="2295612" y="3921671"/>
                  <a:pt x="2126305" y="3937917"/>
                </a:cubicBezTo>
                <a:cubicBezTo>
                  <a:pt x="1956998" y="3954163"/>
                  <a:pt x="1800424" y="3925859"/>
                  <a:pt x="1707771" y="3937917"/>
                </a:cubicBezTo>
                <a:cubicBezTo>
                  <a:pt x="1615118" y="3949975"/>
                  <a:pt x="1451127" y="3911787"/>
                  <a:pt x="1258613" y="3937917"/>
                </a:cubicBezTo>
                <a:cubicBezTo>
                  <a:pt x="1066099" y="3964047"/>
                  <a:pt x="857727" y="3927306"/>
                  <a:pt x="656333" y="3937917"/>
                </a:cubicBezTo>
                <a:cubicBezTo>
                  <a:pt x="323622" y="3931617"/>
                  <a:pt x="4074" y="3682749"/>
                  <a:pt x="0" y="3281584"/>
                </a:cubicBezTo>
                <a:cubicBezTo>
                  <a:pt x="-28652" y="3063214"/>
                  <a:pt x="41289" y="3006939"/>
                  <a:pt x="0" y="2809039"/>
                </a:cubicBezTo>
                <a:cubicBezTo>
                  <a:pt x="-41289" y="2611140"/>
                  <a:pt x="30576" y="2580497"/>
                  <a:pt x="0" y="2362746"/>
                </a:cubicBezTo>
                <a:cubicBezTo>
                  <a:pt x="-30576" y="2144995"/>
                  <a:pt x="31171" y="2074124"/>
                  <a:pt x="0" y="1916453"/>
                </a:cubicBezTo>
                <a:cubicBezTo>
                  <a:pt x="-31171" y="1758782"/>
                  <a:pt x="760" y="1620021"/>
                  <a:pt x="0" y="1391403"/>
                </a:cubicBezTo>
                <a:cubicBezTo>
                  <a:pt x="-760" y="1162785"/>
                  <a:pt x="27314" y="950172"/>
                  <a:pt x="0" y="65633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07D54-217A-EB96-4306-79BC832CA630}"/>
              </a:ext>
            </a:extLst>
          </p:cNvPr>
          <p:cNvGrpSpPr/>
          <p:nvPr/>
        </p:nvGrpSpPr>
        <p:grpSpPr>
          <a:xfrm>
            <a:off x="7215185" y="2475653"/>
            <a:ext cx="1158800" cy="1098301"/>
            <a:chOff x="3591201" y="2800773"/>
            <a:chExt cx="887513" cy="946980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94EB215-3E96-1CF3-633E-BA52ED360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77503CE5-0331-8B70-1B9C-DCDB25645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B6293F53-00FC-1E2A-243F-3F24254568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2D573-A12D-A313-D630-7C1973588AA2}"/>
              </a:ext>
            </a:extLst>
          </p:cNvPr>
          <p:cNvGrpSpPr/>
          <p:nvPr/>
        </p:nvGrpSpPr>
        <p:grpSpPr>
          <a:xfrm>
            <a:off x="1883950" y="2364677"/>
            <a:ext cx="1291179" cy="1287835"/>
            <a:chOff x="3409768" y="2600757"/>
            <a:chExt cx="1571305" cy="156027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3BC9F0-D6D5-334D-C2C1-C7A80617C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FD495CD4-4BC7-9EFE-1699-A28CC014D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47EE736-55EF-8CF0-4A6E-92C43B6A57DB}"/>
              </a:ext>
            </a:extLst>
          </p:cNvPr>
          <p:cNvSpPr/>
          <p:nvPr/>
        </p:nvSpPr>
        <p:spPr>
          <a:xfrm>
            <a:off x="576146" y="4581583"/>
            <a:ext cx="3907982" cy="1774766"/>
          </a:xfrm>
          <a:custGeom>
            <a:avLst/>
            <a:gdLst>
              <a:gd name="connsiteX0" fmla="*/ 0 w 3907982"/>
              <a:gd name="connsiteY0" fmla="*/ 295800 h 1774766"/>
              <a:gd name="connsiteX1" fmla="*/ 295800 w 3907982"/>
              <a:gd name="connsiteY1" fmla="*/ 0 h 1774766"/>
              <a:gd name="connsiteX2" fmla="*/ 881694 w 3907982"/>
              <a:gd name="connsiteY2" fmla="*/ 0 h 1774766"/>
              <a:gd name="connsiteX3" fmla="*/ 1334933 w 3907982"/>
              <a:gd name="connsiteY3" fmla="*/ 0 h 1774766"/>
              <a:gd name="connsiteX4" fmla="*/ 1887663 w 3907982"/>
              <a:gd name="connsiteY4" fmla="*/ 0 h 1774766"/>
              <a:gd name="connsiteX5" fmla="*/ 2374066 w 3907982"/>
              <a:gd name="connsiteY5" fmla="*/ 0 h 1774766"/>
              <a:gd name="connsiteX6" fmla="*/ 2959960 w 3907982"/>
              <a:gd name="connsiteY6" fmla="*/ 0 h 1774766"/>
              <a:gd name="connsiteX7" fmla="*/ 3612182 w 3907982"/>
              <a:gd name="connsiteY7" fmla="*/ 0 h 1774766"/>
              <a:gd name="connsiteX8" fmla="*/ 3907982 w 3907982"/>
              <a:gd name="connsiteY8" fmla="*/ 295800 h 1774766"/>
              <a:gd name="connsiteX9" fmla="*/ 3907982 w 3907982"/>
              <a:gd name="connsiteY9" fmla="*/ 887383 h 1774766"/>
              <a:gd name="connsiteX10" fmla="*/ 3907982 w 3907982"/>
              <a:gd name="connsiteY10" fmla="*/ 1478966 h 1774766"/>
              <a:gd name="connsiteX11" fmla="*/ 3612182 w 3907982"/>
              <a:gd name="connsiteY11" fmla="*/ 1774766 h 1774766"/>
              <a:gd name="connsiteX12" fmla="*/ 2993124 w 3907982"/>
              <a:gd name="connsiteY12" fmla="*/ 1774766 h 1774766"/>
              <a:gd name="connsiteX13" fmla="*/ 2506721 w 3907982"/>
              <a:gd name="connsiteY13" fmla="*/ 1774766 h 1774766"/>
              <a:gd name="connsiteX14" fmla="*/ 2053482 w 3907982"/>
              <a:gd name="connsiteY14" fmla="*/ 1774766 h 1774766"/>
              <a:gd name="connsiteX15" fmla="*/ 1567080 w 3907982"/>
              <a:gd name="connsiteY15" fmla="*/ 1774766 h 1774766"/>
              <a:gd name="connsiteX16" fmla="*/ 1047513 w 3907982"/>
              <a:gd name="connsiteY16" fmla="*/ 1774766 h 1774766"/>
              <a:gd name="connsiteX17" fmla="*/ 295800 w 3907982"/>
              <a:gd name="connsiteY17" fmla="*/ 1774766 h 1774766"/>
              <a:gd name="connsiteX18" fmla="*/ 0 w 3907982"/>
              <a:gd name="connsiteY18" fmla="*/ 1478966 h 1774766"/>
              <a:gd name="connsiteX19" fmla="*/ 0 w 3907982"/>
              <a:gd name="connsiteY19" fmla="*/ 863720 h 1774766"/>
              <a:gd name="connsiteX20" fmla="*/ 0 w 3907982"/>
              <a:gd name="connsiteY20" fmla="*/ 295800 h 1774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907982" h="1774766" fill="none" extrusionOk="0">
                <a:moveTo>
                  <a:pt x="0" y="295800"/>
                </a:moveTo>
                <a:cubicBezTo>
                  <a:pt x="20487" y="172998"/>
                  <a:pt x="121258" y="5894"/>
                  <a:pt x="295800" y="0"/>
                </a:cubicBezTo>
                <a:cubicBezTo>
                  <a:pt x="532295" y="-1391"/>
                  <a:pt x="598923" y="5736"/>
                  <a:pt x="881694" y="0"/>
                </a:cubicBezTo>
                <a:cubicBezTo>
                  <a:pt x="1164465" y="-5736"/>
                  <a:pt x="1201321" y="29972"/>
                  <a:pt x="1334933" y="0"/>
                </a:cubicBezTo>
                <a:cubicBezTo>
                  <a:pt x="1468545" y="-29972"/>
                  <a:pt x="1765965" y="35675"/>
                  <a:pt x="1887663" y="0"/>
                </a:cubicBezTo>
                <a:cubicBezTo>
                  <a:pt x="2009361" y="-35675"/>
                  <a:pt x="2224980" y="32410"/>
                  <a:pt x="2374066" y="0"/>
                </a:cubicBezTo>
                <a:cubicBezTo>
                  <a:pt x="2523152" y="-32410"/>
                  <a:pt x="2774968" y="41765"/>
                  <a:pt x="2959960" y="0"/>
                </a:cubicBezTo>
                <a:cubicBezTo>
                  <a:pt x="3144952" y="-41765"/>
                  <a:pt x="3294047" y="45903"/>
                  <a:pt x="3612182" y="0"/>
                </a:cubicBezTo>
                <a:cubicBezTo>
                  <a:pt x="3764720" y="33757"/>
                  <a:pt x="3893462" y="86707"/>
                  <a:pt x="3907982" y="295800"/>
                </a:cubicBezTo>
                <a:cubicBezTo>
                  <a:pt x="3940689" y="479855"/>
                  <a:pt x="3872225" y="708667"/>
                  <a:pt x="3907982" y="887383"/>
                </a:cubicBezTo>
                <a:cubicBezTo>
                  <a:pt x="3943739" y="1066099"/>
                  <a:pt x="3907402" y="1189439"/>
                  <a:pt x="3907982" y="1478966"/>
                </a:cubicBezTo>
                <a:cubicBezTo>
                  <a:pt x="3881345" y="1657268"/>
                  <a:pt x="3792040" y="1819451"/>
                  <a:pt x="3612182" y="1774766"/>
                </a:cubicBezTo>
                <a:cubicBezTo>
                  <a:pt x="3339602" y="1816939"/>
                  <a:pt x="3295224" y="1701940"/>
                  <a:pt x="2993124" y="1774766"/>
                </a:cubicBezTo>
                <a:cubicBezTo>
                  <a:pt x="2691024" y="1847592"/>
                  <a:pt x="2636376" y="1730920"/>
                  <a:pt x="2506721" y="1774766"/>
                </a:cubicBezTo>
                <a:cubicBezTo>
                  <a:pt x="2377066" y="1818612"/>
                  <a:pt x="2211001" y="1724309"/>
                  <a:pt x="2053482" y="1774766"/>
                </a:cubicBezTo>
                <a:cubicBezTo>
                  <a:pt x="1895963" y="1825223"/>
                  <a:pt x="1802648" y="1747873"/>
                  <a:pt x="1567080" y="1774766"/>
                </a:cubicBezTo>
                <a:cubicBezTo>
                  <a:pt x="1331512" y="1801659"/>
                  <a:pt x="1233039" y="1714598"/>
                  <a:pt x="1047513" y="1774766"/>
                </a:cubicBezTo>
                <a:cubicBezTo>
                  <a:pt x="861987" y="1834934"/>
                  <a:pt x="468022" y="1688758"/>
                  <a:pt x="295800" y="1774766"/>
                </a:cubicBezTo>
                <a:cubicBezTo>
                  <a:pt x="127600" y="1779565"/>
                  <a:pt x="45678" y="1652584"/>
                  <a:pt x="0" y="1478966"/>
                </a:cubicBezTo>
                <a:cubicBezTo>
                  <a:pt x="-49781" y="1330297"/>
                  <a:pt x="18913" y="1077115"/>
                  <a:pt x="0" y="863720"/>
                </a:cubicBezTo>
                <a:cubicBezTo>
                  <a:pt x="-18913" y="650325"/>
                  <a:pt x="25371" y="523751"/>
                  <a:pt x="0" y="295800"/>
                </a:cubicBezTo>
                <a:close/>
              </a:path>
              <a:path w="3907982" h="1774766" stroke="0" extrusionOk="0">
                <a:moveTo>
                  <a:pt x="0" y="295800"/>
                </a:moveTo>
                <a:cubicBezTo>
                  <a:pt x="-20882" y="119554"/>
                  <a:pt x="106135" y="9870"/>
                  <a:pt x="295800" y="0"/>
                </a:cubicBezTo>
                <a:cubicBezTo>
                  <a:pt x="453860" y="-12989"/>
                  <a:pt x="734573" y="48685"/>
                  <a:pt x="914858" y="0"/>
                </a:cubicBezTo>
                <a:cubicBezTo>
                  <a:pt x="1095143" y="-48685"/>
                  <a:pt x="1269038" y="4660"/>
                  <a:pt x="1434424" y="0"/>
                </a:cubicBezTo>
                <a:cubicBezTo>
                  <a:pt x="1599810" y="-4660"/>
                  <a:pt x="1715140" y="34333"/>
                  <a:pt x="1920827" y="0"/>
                </a:cubicBezTo>
                <a:cubicBezTo>
                  <a:pt x="2126514" y="-34333"/>
                  <a:pt x="2358539" y="37821"/>
                  <a:pt x="2506721" y="0"/>
                </a:cubicBezTo>
                <a:cubicBezTo>
                  <a:pt x="2654903" y="-37821"/>
                  <a:pt x="2906566" y="42803"/>
                  <a:pt x="3026288" y="0"/>
                </a:cubicBezTo>
                <a:cubicBezTo>
                  <a:pt x="3146010" y="-42803"/>
                  <a:pt x="3411886" y="2924"/>
                  <a:pt x="3612182" y="0"/>
                </a:cubicBezTo>
                <a:cubicBezTo>
                  <a:pt x="3772467" y="-29383"/>
                  <a:pt x="3899951" y="143594"/>
                  <a:pt x="3907982" y="295800"/>
                </a:cubicBezTo>
                <a:cubicBezTo>
                  <a:pt x="3947695" y="575082"/>
                  <a:pt x="3848787" y="609114"/>
                  <a:pt x="3907982" y="863720"/>
                </a:cubicBezTo>
                <a:cubicBezTo>
                  <a:pt x="3967177" y="1118326"/>
                  <a:pt x="3877306" y="1196617"/>
                  <a:pt x="3907982" y="1478966"/>
                </a:cubicBezTo>
                <a:cubicBezTo>
                  <a:pt x="3935197" y="1682845"/>
                  <a:pt x="3775937" y="1778791"/>
                  <a:pt x="3612182" y="1774766"/>
                </a:cubicBezTo>
                <a:cubicBezTo>
                  <a:pt x="3496960" y="1826369"/>
                  <a:pt x="3311138" y="1742211"/>
                  <a:pt x="3158943" y="1774766"/>
                </a:cubicBezTo>
                <a:cubicBezTo>
                  <a:pt x="3006748" y="1807321"/>
                  <a:pt x="2726248" y="1726081"/>
                  <a:pt x="2539885" y="1774766"/>
                </a:cubicBezTo>
                <a:cubicBezTo>
                  <a:pt x="2353522" y="1823451"/>
                  <a:pt x="2273193" y="1774461"/>
                  <a:pt x="2053482" y="1774766"/>
                </a:cubicBezTo>
                <a:cubicBezTo>
                  <a:pt x="1833771" y="1775071"/>
                  <a:pt x="1693217" y="1741945"/>
                  <a:pt x="1500752" y="1774766"/>
                </a:cubicBezTo>
                <a:cubicBezTo>
                  <a:pt x="1308287" y="1807587"/>
                  <a:pt x="1064617" y="1721145"/>
                  <a:pt x="881694" y="1774766"/>
                </a:cubicBezTo>
                <a:cubicBezTo>
                  <a:pt x="698771" y="1828387"/>
                  <a:pt x="505823" y="1720333"/>
                  <a:pt x="295800" y="1774766"/>
                </a:cubicBezTo>
                <a:cubicBezTo>
                  <a:pt x="121430" y="1794441"/>
                  <a:pt x="36742" y="1669634"/>
                  <a:pt x="0" y="1478966"/>
                </a:cubicBezTo>
                <a:cubicBezTo>
                  <a:pt x="-54989" y="1234490"/>
                  <a:pt x="10688" y="1088378"/>
                  <a:pt x="0" y="911046"/>
                </a:cubicBezTo>
                <a:cubicBezTo>
                  <a:pt x="-10688" y="733714"/>
                  <a:pt x="25512" y="541996"/>
                  <a:pt x="0" y="29580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  <a:alpha val="0"/>
                </a:schemeClr>
              </a:gs>
              <a:gs pos="38000">
                <a:schemeClr val="accent2">
                  <a:lumMod val="97000"/>
                  <a:lumOff val="3000"/>
                </a:schemeClr>
              </a:gs>
              <a:gs pos="55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5511DB5-BA82-0B4D-6C1F-BD6988456645}"/>
              </a:ext>
            </a:extLst>
          </p:cNvPr>
          <p:cNvSpPr/>
          <p:nvPr/>
        </p:nvSpPr>
        <p:spPr>
          <a:xfrm>
            <a:off x="576146" y="3630212"/>
            <a:ext cx="3907982" cy="1948810"/>
          </a:xfrm>
          <a:custGeom>
            <a:avLst/>
            <a:gdLst>
              <a:gd name="connsiteX0" fmla="*/ 0 w 3907982"/>
              <a:gd name="connsiteY0" fmla="*/ 324808 h 1948810"/>
              <a:gd name="connsiteX1" fmla="*/ 324808 w 3907982"/>
              <a:gd name="connsiteY1" fmla="*/ 0 h 1948810"/>
              <a:gd name="connsiteX2" fmla="*/ 867869 w 3907982"/>
              <a:gd name="connsiteY2" fmla="*/ 0 h 1948810"/>
              <a:gd name="connsiteX3" fmla="*/ 1345763 w 3907982"/>
              <a:gd name="connsiteY3" fmla="*/ 0 h 1948810"/>
              <a:gd name="connsiteX4" fmla="*/ 1921407 w 3907982"/>
              <a:gd name="connsiteY4" fmla="*/ 0 h 1948810"/>
              <a:gd name="connsiteX5" fmla="*/ 2399301 w 3907982"/>
              <a:gd name="connsiteY5" fmla="*/ 0 h 1948810"/>
              <a:gd name="connsiteX6" fmla="*/ 2974946 w 3907982"/>
              <a:gd name="connsiteY6" fmla="*/ 0 h 1948810"/>
              <a:gd name="connsiteX7" fmla="*/ 3583174 w 3907982"/>
              <a:gd name="connsiteY7" fmla="*/ 0 h 1948810"/>
              <a:gd name="connsiteX8" fmla="*/ 3907982 w 3907982"/>
              <a:gd name="connsiteY8" fmla="*/ 324808 h 1948810"/>
              <a:gd name="connsiteX9" fmla="*/ 3907982 w 3907982"/>
              <a:gd name="connsiteY9" fmla="*/ 744881 h 1948810"/>
              <a:gd name="connsiteX10" fmla="*/ 3907982 w 3907982"/>
              <a:gd name="connsiteY10" fmla="*/ 1151962 h 1948810"/>
              <a:gd name="connsiteX11" fmla="*/ 3907982 w 3907982"/>
              <a:gd name="connsiteY11" fmla="*/ 1624002 h 1948810"/>
              <a:gd name="connsiteX12" fmla="*/ 3583174 w 3907982"/>
              <a:gd name="connsiteY12" fmla="*/ 1948810 h 1948810"/>
              <a:gd name="connsiteX13" fmla="*/ 3105280 w 3907982"/>
              <a:gd name="connsiteY13" fmla="*/ 1948810 h 1948810"/>
              <a:gd name="connsiteX14" fmla="*/ 2594803 w 3907982"/>
              <a:gd name="connsiteY14" fmla="*/ 1948810 h 1948810"/>
              <a:gd name="connsiteX15" fmla="*/ 2051742 w 3907982"/>
              <a:gd name="connsiteY15" fmla="*/ 1948810 h 1948810"/>
              <a:gd name="connsiteX16" fmla="*/ 1573848 w 3907982"/>
              <a:gd name="connsiteY16" fmla="*/ 1948810 h 1948810"/>
              <a:gd name="connsiteX17" fmla="*/ 965620 w 3907982"/>
              <a:gd name="connsiteY17" fmla="*/ 1948810 h 1948810"/>
              <a:gd name="connsiteX18" fmla="*/ 324808 w 3907982"/>
              <a:gd name="connsiteY18" fmla="*/ 1948810 h 1948810"/>
              <a:gd name="connsiteX19" fmla="*/ 0 w 3907982"/>
              <a:gd name="connsiteY19" fmla="*/ 1624002 h 1948810"/>
              <a:gd name="connsiteX20" fmla="*/ 0 w 3907982"/>
              <a:gd name="connsiteY20" fmla="*/ 1190937 h 1948810"/>
              <a:gd name="connsiteX21" fmla="*/ 0 w 3907982"/>
              <a:gd name="connsiteY21" fmla="*/ 744881 h 1948810"/>
              <a:gd name="connsiteX22" fmla="*/ 0 w 3907982"/>
              <a:gd name="connsiteY22" fmla="*/ 324808 h 194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48810" fill="none" extrusionOk="0">
                <a:moveTo>
                  <a:pt x="0" y="324808"/>
                </a:moveTo>
                <a:cubicBezTo>
                  <a:pt x="-9814" y="144866"/>
                  <a:pt x="183880" y="33110"/>
                  <a:pt x="324808" y="0"/>
                </a:cubicBezTo>
                <a:cubicBezTo>
                  <a:pt x="511642" y="-49885"/>
                  <a:pt x="676449" y="10538"/>
                  <a:pt x="867869" y="0"/>
                </a:cubicBezTo>
                <a:cubicBezTo>
                  <a:pt x="1059289" y="-10538"/>
                  <a:pt x="1232694" y="38815"/>
                  <a:pt x="1345763" y="0"/>
                </a:cubicBezTo>
                <a:cubicBezTo>
                  <a:pt x="1458832" y="-38815"/>
                  <a:pt x="1719905" y="18510"/>
                  <a:pt x="1921407" y="0"/>
                </a:cubicBezTo>
                <a:cubicBezTo>
                  <a:pt x="2122909" y="-18510"/>
                  <a:pt x="2244503" y="13959"/>
                  <a:pt x="2399301" y="0"/>
                </a:cubicBezTo>
                <a:cubicBezTo>
                  <a:pt x="2554099" y="-13959"/>
                  <a:pt x="2739638" y="61767"/>
                  <a:pt x="2974946" y="0"/>
                </a:cubicBezTo>
                <a:cubicBezTo>
                  <a:pt x="3210254" y="-61767"/>
                  <a:pt x="3352165" y="29902"/>
                  <a:pt x="3583174" y="0"/>
                </a:cubicBezTo>
                <a:cubicBezTo>
                  <a:pt x="3767010" y="-7724"/>
                  <a:pt x="3893431" y="139843"/>
                  <a:pt x="3907982" y="324808"/>
                </a:cubicBezTo>
                <a:cubicBezTo>
                  <a:pt x="3917924" y="436572"/>
                  <a:pt x="3883703" y="595369"/>
                  <a:pt x="3907982" y="744881"/>
                </a:cubicBezTo>
                <a:cubicBezTo>
                  <a:pt x="3932261" y="894393"/>
                  <a:pt x="3894731" y="1056175"/>
                  <a:pt x="3907982" y="1151962"/>
                </a:cubicBezTo>
                <a:cubicBezTo>
                  <a:pt x="3921233" y="1247749"/>
                  <a:pt x="3884915" y="1416136"/>
                  <a:pt x="3907982" y="1624002"/>
                </a:cubicBezTo>
                <a:cubicBezTo>
                  <a:pt x="3951987" y="1791742"/>
                  <a:pt x="3755826" y="1995464"/>
                  <a:pt x="3583174" y="1948810"/>
                </a:cubicBezTo>
                <a:cubicBezTo>
                  <a:pt x="3376622" y="1978462"/>
                  <a:pt x="3333771" y="1894812"/>
                  <a:pt x="3105280" y="1948810"/>
                </a:cubicBezTo>
                <a:cubicBezTo>
                  <a:pt x="2876789" y="2002808"/>
                  <a:pt x="2821251" y="1905816"/>
                  <a:pt x="2594803" y="1948810"/>
                </a:cubicBezTo>
                <a:cubicBezTo>
                  <a:pt x="2368355" y="1991804"/>
                  <a:pt x="2240340" y="1918797"/>
                  <a:pt x="2051742" y="1948810"/>
                </a:cubicBezTo>
                <a:cubicBezTo>
                  <a:pt x="1863144" y="1978823"/>
                  <a:pt x="1807665" y="1907858"/>
                  <a:pt x="1573848" y="1948810"/>
                </a:cubicBezTo>
                <a:cubicBezTo>
                  <a:pt x="1340031" y="1989762"/>
                  <a:pt x="1221594" y="1931019"/>
                  <a:pt x="965620" y="1948810"/>
                </a:cubicBezTo>
                <a:cubicBezTo>
                  <a:pt x="709646" y="1966601"/>
                  <a:pt x="491756" y="1948759"/>
                  <a:pt x="324808" y="1948810"/>
                </a:cubicBezTo>
                <a:cubicBezTo>
                  <a:pt x="151042" y="1968543"/>
                  <a:pt x="16420" y="1810302"/>
                  <a:pt x="0" y="1624002"/>
                </a:cubicBezTo>
                <a:cubicBezTo>
                  <a:pt x="-16740" y="1503674"/>
                  <a:pt x="50220" y="1313890"/>
                  <a:pt x="0" y="1190937"/>
                </a:cubicBezTo>
                <a:cubicBezTo>
                  <a:pt x="-50220" y="1067984"/>
                  <a:pt x="52467" y="858783"/>
                  <a:pt x="0" y="744881"/>
                </a:cubicBezTo>
                <a:cubicBezTo>
                  <a:pt x="-52467" y="630979"/>
                  <a:pt x="2738" y="488934"/>
                  <a:pt x="0" y="324808"/>
                </a:cubicBezTo>
                <a:close/>
              </a:path>
              <a:path w="3907982" h="1948810" stroke="0" extrusionOk="0">
                <a:moveTo>
                  <a:pt x="0" y="324808"/>
                </a:moveTo>
                <a:cubicBezTo>
                  <a:pt x="-16458" y="135269"/>
                  <a:pt x="100042" y="17032"/>
                  <a:pt x="324808" y="0"/>
                </a:cubicBezTo>
                <a:cubicBezTo>
                  <a:pt x="584856" y="-70117"/>
                  <a:pt x="686307" y="72296"/>
                  <a:pt x="933036" y="0"/>
                </a:cubicBezTo>
                <a:cubicBezTo>
                  <a:pt x="1179765" y="-72296"/>
                  <a:pt x="1243637" y="4369"/>
                  <a:pt x="1443514" y="0"/>
                </a:cubicBezTo>
                <a:cubicBezTo>
                  <a:pt x="1643391" y="-4369"/>
                  <a:pt x="1762975" y="54884"/>
                  <a:pt x="1921407" y="0"/>
                </a:cubicBezTo>
                <a:cubicBezTo>
                  <a:pt x="2079839" y="-54884"/>
                  <a:pt x="2256426" y="16742"/>
                  <a:pt x="2497052" y="0"/>
                </a:cubicBezTo>
                <a:cubicBezTo>
                  <a:pt x="2737679" y="-16742"/>
                  <a:pt x="2804866" y="36103"/>
                  <a:pt x="3007529" y="0"/>
                </a:cubicBezTo>
                <a:cubicBezTo>
                  <a:pt x="3210192" y="-36103"/>
                  <a:pt x="3298463" y="3978"/>
                  <a:pt x="3583174" y="0"/>
                </a:cubicBezTo>
                <a:cubicBezTo>
                  <a:pt x="3756999" y="-53038"/>
                  <a:pt x="3892316" y="167193"/>
                  <a:pt x="3907982" y="324808"/>
                </a:cubicBezTo>
                <a:cubicBezTo>
                  <a:pt x="3914214" y="511100"/>
                  <a:pt x="3875098" y="647723"/>
                  <a:pt x="3907982" y="731889"/>
                </a:cubicBezTo>
                <a:cubicBezTo>
                  <a:pt x="3940866" y="816055"/>
                  <a:pt x="3881811" y="1057140"/>
                  <a:pt x="3907982" y="1164953"/>
                </a:cubicBezTo>
                <a:cubicBezTo>
                  <a:pt x="3934153" y="1272766"/>
                  <a:pt x="3895042" y="1405071"/>
                  <a:pt x="3907982" y="1624002"/>
                </a:cubicBezTo>
                <a:cubicBezTo>
                  <a:pt x="3923788" y="1787770"/>
                  <a:pt x="3773966" y="1941456"/>
                  <a:pt x="3583174" y="1948810"/>
                </a:cubicBezTo>
                <a:cubicBezTo>
                  <a:pt x="3337323" y="1967761"/>
                  <a:pt x="3255795" y="1893168"/>
                  <a:pt x="3040113" y="1948810"/>
                </a:cubicBezTo>
                <a:cubicBezTo>
                  <a:pt x="2824431" y="2004452"/>
                  <a:pt x="2690484" y="1893128"/>
                  <a:pt x="2562219" y="1948810"/>
                </a:cubicBezTo>
                <a:cubicBezTo>
                  <a:pt x="2433954" y="2004492"/>
                  <a:pt x="2238330" y="1944723"/>
                  <a:pt x="2019158" y="1948810"/>
                </a:cubicBezTo>
                <a:cubicBezTo>
                  <a:pt x="1799986" y="1952897"/>
                  <a:pt x="1605572" y="1902699"/>
                  <a:pt x="1410930" y="1948810"/>
                </a:cubicBezTo>
                <a:cubicBezTo>
                  <a:pt x="1216288" y="1994921"/>
                  <a:pt x="1011217" y="1916185"/>
                  <a:pt x="867869" y="1948810"/>
                </a:cubicBezTo>
                <a:cubicBezTo>
                  <a:pt x="724521" y="1981435"/>
                  <a:pt x="500572" y="1910232"/>
                  <a:pt x="324808" y="1948810"/>
                </a:cubicBezTo>
                <a:cubicBezTo>
                  <a:pt x="106065" y="1950430"/>
                  <a:pt x="3372" y="1797311"/>
                  <a:pt x="0" y="1624002"/>
                </a:cubicBezTo>
                <a:cubicBezTo>
                  <a:pt x="-3772" y="1437588"/>
                  <a:pt x="12891" y="1341957"/>
                  <a:pt x="0" y="1177945"/>
                </a:cubicBezTo>
                <a:cubicBezTo>
                  <a:pt x="-12891" y="1013933"/>
                  <a:pt x="47923" y="937091"/>
                  <a:pt x="0" y="770865"/>
                </a:cubicBezTo>
                <a:cubicBezTo>
                  <a:pt x="-47923" y="604639"/>
                  <a:pt x="11915" y="419747"/>
                  <a:pt x="0" y="324808"/>
                </a:cubicBezTo>
                <a:close/>
              </a:path>
            </a:pathLst>
          </a:custGeom>
          <a:gradFill flip="none" rotWithShape="1">
            <a:gsLst>
              <a:gs pos="23000">
                <a:schemeClr val="accent6">
                  <a:lumMod val="67000"/>
                  <a:alpha val="0"/>
                </a:schemeClr>
              </a:gs>
              <a:gs pos="50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32C0AE-654A-2838-C77B-22EEE672F3DB}"/>
              </a:ext>
            </a:extLst>
          </p:cNvPr>
          <p:cNvSpPr txBox="1"/>
          <p:nvPr/>
        </p:nvSpPr>
        <p:spPr>
          <a:xfrm>
            <a:off x="805118" y="4672699"/>
            <a:ext cx="1323054" cy="369332"/>
          </a:xfrm>
          <a:custGeom>
            <a:avLst/>
            <a:gdLst>
              <a:gd name="connsiteX0" fmla="*/ 0 w 1323054"/>
              <a:gd name="connsiteY0" fmla="*/ 0 h 369332"/>
              <a:gd name="connsiteX1" fmla="*/ 427787 w 1323054"/>
              <a:gd name="connsiteY1" fmla="*/ 0 h 369332"/>
              <a:gd name="connsiteX2" fmla="*/ 829114 w 1323054"/>
              <a:gd name="connsiteY2" fmla="*/ 0 h 369332"/>
              <a:gd name="connsiteX3" fmla="*/ 1323054 w 1323054"/>
              <a:gd name="connsiteY3" fmla="*/ 0 h 369332"/>
              <a:gd name="connsiteX4" fmla="*/ 1323054 w 1323054"/>
              <a:gd name="connsiteY4" fmla="*/ 369332 h 369332"/>
              <a:gd name="connsiteX5" fmla="*/ 908497 w 1323054"/>
              <a:gd name="connsiteY5" fmla="*/ 369332 h 369332"/>
              <a:gd name="connsiteX6" fmla="*/ 441018 w 1323054"/>
              <a:gd name="connsiteY6" fmla="*/ 369332 h 369332"/>
              <a:gd name="connsiteX7" fmla="*/ 0 w 1323054"/>
              <a:gd name="connsiteY7" fmla="*/ 369332 h 369332"/>
              <a:gd name="connsiteX8" fmla="*/ 0 w 132305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3054" h="369332" extrusionOk="0">
                <a:moveTo>
                  <a:pt x="0" y="0"/>
                </a:moveTo>
                <a:cubicBezTo>
                  <a:pt x="140916" y="-24695"/>
                  <a:pt x="229075" y="49349"/>
                  <a:pt x="427787" y="0"/>
                </a:cubicBezTo>
                <a:cubicBezTo>
                  <a:pt x="626499" y="-49349"/>
                  <a:pt x="681920" y="40189"/>
                  <a:pt x="829114" y="0"/>
                </a:cubicBezTo>
                <a:cubicBezTo>
                  <a:pt x="976308" y="-40189"/>
                  <a:pt x="1209277" y="51528"/>
                  <a:pt x="1323054" y="0"/>
                </a:cubicBezTo>
                <a:cubicBezTo>
                  <a:pt x="1358642" y="113493"/>
                  <a:pt x="1296247" y="197069"/>
                  <a:pt x="1323054" y="369332"/>
                </a:cubicBezTo>
                <a:cubicBezTo>
                  <a:pt x="1173213" y="380433"/>
                  <a:pt x="1061290" y="360094"/>
                  <a:pt x="908497" y="369332"/>
                </a:cubicBezTo>
                <a:cubicBezTo>
                  <a:pt x="755704" y="378570"/>
                  <a:pt x="567231" y="359462"/>
                  <a:pt x="441018" y="369332"/>
                </a:cubicBezTo>
                <a:cubicBezTo>
                  <a:pt x="314805" y="379202"/>
                  <a:pt x="120376" y="33323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D727FC-C6A3-9DAF-8AF5-DF0A415096C9}"/>
              </a:ext>
            </a:extLst>
          </p:cNvPr>
          <p:cNvSpPr txBox="1"/>
          <p:nvPr/>
        </p:nvSpPr>
        <p:spPr>
          <a:xfrm>
            <a:off x="1782707" y="5121711"/>
            <a:ext cx="2624821" cy="369332"/>
          </a:xfrm>
          <a:custGeom>
            <a:avLst/>
            <a:gdLst>
              <a:gd name="connsiteX0" fmla="*/ 0 w 2624821"/>
              <a:gd name="connsiteY0" fmla="*/ 0 h 369332"/>
              <a:gd name="connsiteX1" fmla="*/ 498716 w 2624821"/>
              <a:gd name="connsiteY1" fmla="*/ 0 h 369332"/>
              <a:gd name="connsiteX2" fmla="*/ 944936 w 2624821"/>
              <a:gd name="connsiteY2" fmla="*/ 0 h 369332"/>
              <a:gd name="connsiteX3" fmla="*/ 1522396 w 2624821"/>
              <a:gd name="connsiteY3" fmla="*/ 0 h 369332"/>
              <a:gd name="connsiteX4" fmla="*/ 2021112 w 2624821"/>
              <a:gd name="connsiteY4" fmla="*/ 0 h 369332"/>
              <a:gd name="connsiteX5" fmla="*/ 2624821 w 2624821"/>
              <a:gd name="connsiteY5" fmla="*/ 0 h 369332"/>
              <a:gd name="connsiteX6" fmla="*/ 2624821 w 2624821"/>
              <a:gd name="connsiteY6" fmla="*/ 369332 h 369332"/>
              <a:gd name="connsiteX7" fmla="*/ 2099857 w 2624821"/>
              <a:gd name="connsiteY7" fmla="*/ 369332 h 369332"/>
              <a:gd name="connsiteX8" fmla="*/ 1522396 w 2624821"/>
              <a:gd name="connsiteY8" fmla="*/ 369332 h 369332"/>
              <a:gd name="connsiteX9" fmla="*/ 1076177 w 2624821"/>
              <a:gd name="connsiteY9" fmla="*/ 369332 h 369332"/>
              <a:gd name="connsiteX10" fmla="*/ 551212 w 2624821"/>
              <a:gd name="connsiteY10" fmla="*/ 369332 h 369332"/>
              <a:gd name="connsiteX11" fmla="*/ 0 w 2624821"/>
              <a:gd name="connsiteY11" fmla="*/ 369332 h 369332"/>
              <a:gd name="connsiteX12" fmla="*/ 0 w 2624821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24821" h="369332" extrusionOk="0">
                <a:moveTo>
                  <a:pt x="0" y="0"/>
                </a:moveTo>
                <a:cubicBezTo>
                  <a:pt x="202232" y="-43188"/>
                  <a:pt x="350877" y="19620"/>
                  <a:pt x="498716" y="0"/>
                </a:cubicBezTo>
                <a:cubicBezTo>
                  <a:pt x="646555" y="-19620"/>
                  <a:pt x="825399" y="48375"/>
                  <a:pt x="944936" y="0"/>
                </a:cubicBezTo>
                <a:cubicBezTo>
                  <a:pt x="1064473" y="-48375"/>
                  <a:pt x="1382501" y="49983"/>
                  <a:pt x="1522396" y="0"/>
                </a:cubicBezTo>
                <a:cubicBezTo>
                  <a:pt x="1662291" y="-49983"/>
                  <a:pt x="1891154" y="37239"/>
                  <a:pt x="2021112" y="0"/>
                </a:cubicBezTo>
                <a:cubicBezTo>
                  <a:pt x="2151070" y="-37239"/>
                  <a:pt x="2400332" y="31076"/>
                  <a:pt x="2624821" y="0"/>
                </a:cubicBezTo>
                <a:cubicBezTo>
                  <a:pt x="2660981" y="81226"/>
                  <a:pt x="2603283" y="278722"/>
                  <a:pt x="2624821" y="369332"/>
                </a:cubicBezTo>
                <a:cubicBezTo>
                  <a:pt x="2425850" y="421389"/>
                  <a:pt x="2251795" y="333479"/>
                  <a:pt x="2099857" y="369332"/>
                </a:cubicBezTo>
                <a:cubicBezTo>
                  <a:pt x="1947919" y="405185"/>
                  <a:pt x="1726067" y="344819"/>
                  <a:pt x="1522396" y="369332"/>
                </a:cubicBezTo>
                <a:cubicBezTo>
                  <a:pt x="1318725" y="393845"/>
                  <a:pt x="1282524" y="321123"/>
                  <a:pt x="1076177" y="369332"/>
                </a:cubicBezTo>
                <a:cubicBezTo>
                  <a:pt x="869830" y="417541"/>
                  <a:pt x="780650" y="353207"/>
                  <a:pt x="551212" y="369332"/>
                </a:cubicBezTo>
                <a:cubicBezTo>
                  <a:pt x="321775" y="385457"/>
                  <a:pt x="157209" y="32414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ons/Onboar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73F669-346B-254F-DCD9-B13DEB261A29}"/>
              </a:ext>
            </a:extLst>
          </p:cNvPr>
          <p:cNvSpPr txBox="1"/>
          <p:nvPr/>
        </p:nvSpPr>
        <p:spPr>
          <a:xfrm>
            <a:off x="729796" y="3741877"/>
            <a:ext cx="1561453" cy="369332"/>
          </a:xfrm>
          <a:custGeom>
            <a:avLst/>
            <a:gdLst>
              <a:gd name="connsiteX0" fmla="*/ 0 w 1561453"/>
              <a:gd name="connsiteY0" fmla="*/ 0 h 369332"/>
              <a:gd name="connsiteX1" fmla="*/ 504870 w 1561453"/>
              <a:gd name="connsiteY1" fmla="*/ 0 h 369332"/>
              <a:gd name="connsiteX2" fmla="*/ 978511 w 1561453"/>
              <a:gd name="connsiteY2" fmla="*/ 0 h 369332"/>
              <a:gd name="connsiteX3" fmla="*/ 1561453 w 1561453"/>
              <a:gd name="connsiteY3" fmla="*/ 0 h 369332"/>
              <a:gd name="connsiteX4" fmla="*/ 1561453 w 1561453"/>
              <a:gd name="connsiteY4" fmla="*/ 369332 h 369332"/>
              <a:gd name="connsiteX5" fmla="*/ 1072198 w 1561453"/>
              <a:gd name="connsiteY5" fmla="*/ 369332 h 369332"/>
              <a:gd name="connsiteX6" fmla="*/ 520484 w 1561453"/>
              <a:gd name="connsiteY6" fmla="*/ 369332 h 369332"/>
              <a:gd name="connsiteX7" fmla="*/ 0 w 1561453"/>
              <a:gd name="connsiteY7" fmla="*/ 369332 h 369332"/>
              <a:gd name="connsiteX8" fmla="*/ 0 w 156145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61453" h="369332" extrusionOk="0">
                <a:moveTo>
                  <a:pt x="0" y="0"/>
                </a:moveTo>
                <a:cubicBezTo>
                  <a:pt x="105663" y="-56601"/>
                  <a:pt x="378439" y="8803"/>
                  <a:pt x="504870" y="0"/>
                </a:cubicBezTo>
                <a:cubicBezTo>
                  <a:pt x="631301" y="-8803"/>
                  <a:pt x="811558" y="50166"/>
                  <a:pt x="978511" y="0"/>
                </a:cubicBezTo>
                <a:cubicBezTo>
                  <a:pt x="1145464" y="-50166"/>
                  <a:pt x="1404115" y="69437"/>
                  <a:pt x="1561453" y="0"/>
                </a:cubicBezTo>
                <a:cubicBezTo>
                  <a:pt x="1597041" y="113493"/>
                  <a:pt x="1534646" y="197069"/>
                  <a:pt x="1561453" y="369332"/>
                </a:cubicBezTo>
                <a:cubicBezTo>
                  <a:pt x="1417838" y="396110"/>
                  <a:pt x="1238872" y="339490"/>
                  <a:pt x="1072198" y="369332"/>
                </a:cubicBezTo>
                <a:cubicBezTo>
                  <a:pt x="905524" y="399174"/>
                  <a:pt x="665741" y="313066"/>
                  <a:pt x="520484" y="369332"/>
                </a:cubicBezTo>
                <a:cubicBezTo>
                  <a:pt x="375227" y="425598"/>
                  <a:pt x="144807" y="32152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F6FAF-26C9-D610-090B-D3C16FB0D072}"/>
              </a:ext>
            </a:extLst>
          </p:cNvPr>
          <p:cNvSpPr txBox="1"/>
          <p:nvPr/>
        </p:nvSpPr>
        <p:spPr>
          <a:xfrm>
            <a:off x="2695348" y="3884265"/>
            <a:ext cx="1646413" cy="369332"/>
          </a:xfrm>
          <a:custGeom>
            <a:avLst/>
            <a:gdLst>
              <a:gd name="connsiteX0" fmla="*/ 0 w 1646413"/>
              <a:gd name="connsiteY0" fmla="*/ 0 h 369332"/>
              <a:gd name="connsiteX1" fmla="*/ 532340 w 1646413"/>
              <a:gd name="connsiteY1" fmla="*/ 0 h 369332"/>
              <a:gd name="connsiteX2" fmla="*/ 1031752 w 1646413"/>
              <a:gd name="connsiteY2" fmla="*/ 0 h 369332"/>
              <a:gd name="connsiteX3" fmla="*/ 1646413 w 1646413"/>
              <a:gd name="connsiteY3" fmla="*/ 0 h 369332"/>
              <a:gd name="connsiteX4" fmla="*/ 1646413 w 1646413"/>
              <a:gd name="connsiteY4" fmla="*/ 369332 h 369332"/>
              <a:gd name="connsiteX5" fmla="*/ 1130537 w 1646413"/>
              <a:gd name="connsiteY5" fmla="*/ 369332 h 369332"/>
              <a:gd name="connsiteX6" fmla="*/ 548804 w 1646413"/>
              <a:gd name="connsiteY6" fmla="*/ 369332 h 369332"/>
              <a:gd name="connsiteX7" fmla="*/ 0 w 1646413"/>
              <a:gd name="connsiteY7" fmla="*/ 369332 h 369332"/>
              <a:gd name="connsiteX8" fmla="*/ 0 w 164641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46413" h="369332" extrusionOk="0">
                <a:moveTo>
                  <a:pt x="0" y="0"/>
                </a:moveTo>
                <a:cubicBezTo>
                  <a:pt x="255277" y="-35214"/>
                  <a:pt x="341683" y="41749"/>
                  <a:pt x="532340" y="0"/>
                </a:cubicBezTo>
                <a:cubicBezTo>
                  <a:pt x="722997" y="-41749"/>
                  <a:pt x="792835" y="26574"/>
                  <a:pt x="1031752" y="0"/>
                </a:cubicBezTo>
                <a:cubicBezTo>
                  <a:pt x="1270669" y="-26574"/>
                  <a:pt x="1355893" y="40199"/>
                  <a:pt x="1646413" y="0"/>
                </a:cubicBezTo>
                <a:cubicBezTo>
                  <a:pt x="1682001" y="113493"/>
                  <a:pt x="1619606" y="197069"/>
                  <a:pt x="1646413" y="369332"/>
                </a:cubicBezTo>
                <a:cubicBezTo>
                  <a:pt x="1424294" y="400777"/>
                  <a:pt x="1345325" y="345683"/>
                  <a:pt x="1130537" y="369332"/>
                </a:cubicBezTo>
                <a:cubicBezTo>
                  <a:pt x="915749" y="392981"/>
                  <a:pt x="676777" y="330864"/>
                  <a:pt x="548804" y="369332"/>
                </a:cubicBezTo>
                <a:cubicBezTo>
                  <a:pt x="420831" y="407800"/>
                  <a:pt x="205308" y="3616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BD15E5-87F3-CA6B-E40E-FB65A8529144}"/>
              </a:ext>
            </a:extLst>
          </p:cNvPr>
          <p:cNvSpPr txBox="1"/>
          <p:nvPr/>
        </p:nvSpPr>
        <p:spPr>
          <a:xfrm>
            <a:off x="739202" y="5776999"/>
            <a:ext cx="1386918" cy="369332"/>
          </a:xfrm>
          <a:custGeom>
            <a:avLst/>
            <a:gdLst>
              <a:gd name="connsiteX0" fmla="*/ 0 w 1386918"/>
              <a:gd name="connsiteY0" fmla="*/ 0 h 369332"/>
              <a:gd name="connsiteX1" fmla="*/ 448437 w 1386918"/>
              <a:gd name="connsiteY1" fmla="*/ 0 h 369332"/>
              <a:gd name="connsiteX2" fmla="*/ 869135 w 1386918"/>
              <a:gd name="connsiteY2" fmla="*/ 0 h 369332"/>
              <a:gd name="connsiteX3" fmla="*/ 1386918 w 1386918"/>
              <a:gd name="connsiteY3" fmla="*/ 0 h 369332"/>
              <a:gd name="connsiteX4" fmla="*/ 1386918 w 1386918"/>
              <a:gd name="connsiteY4" fmla="*/ 369332 h 369332"/>
              <a:gd name="connsiteX5" fmla="*/ 952350 w 1386918"/>
              <a:gd name="connsiteY5" fmla="*/ 369332 h 369332"/>
              <a:gd name="connsiteX6" fmla="*/ 462306 w 1386918"/>
              <a:gd name="connsiteY6" fmla="*/ 369332 h 369332"/>
              <a:gd name="connsiteX7" fmla="*/ 0 w 1386918"/>
              <a:gd name="connsiteY7" fmla="*/ 369332 h 369332"/>
              <a:gd name="connsiteX8" fmla="*/ 0 w 1386918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6918" h="369332" extrusionOk="0">
                <a:moveTo>
                  <a:pt x="0" y="0"/>
                </a:moveTo>
                <a:cubicBezTo>
                  <a:pt x="187637" y="-4289"/>
                  <a:pt x="283600" y="36605"/>
                  <a:pt x="448437" y="0"/>
                </a:cubicBezTo>
                <a:cubicBezTo>
                  <a:pt x="613274" y="-36605"/>
                  <a:pt x="700375" y="17888"/>
                  <a:pt x="869135" y="0"/>
                </a:cubicBezTo>
                <a:cubicBezTo>
                  <a:pt x="1037895" y="-17888"/>
                  <a:pt x="1163468" y="22981"/>
                  <a:pt x="1386918" y="0"/>
                </a:cubicBezTo>
                <a:cubicBezTo>
                  <a:pt x="1422506" y="113493"/>
                  <a:pt x="1360111" y="197069"/>
                  <a:pt x="1386918" y="369332"/>
                </a:cubicBezTo>
                <a:cubicBezTo>
                  <a:pt x="1233383" y="415922"/>
                  <a:pt x="1104230" y="321848"/>
                  <a:pt x="952350" y="369332"/>
                </a:cubicBezTo>
                <a:cubicBezTo>
                  <a:pt x="800470" y="416816"/>
                  <a:pt x="676393" y="335867"/>
                  <a:pt x="462306" y="369332"/>
                </a:cubicBezTo>
                <a:cubicBezTo>
                  <a:pt x="248219" y="402797"/>
                  <a:pt x="122592" y="333919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56DECD8-AFDA-2F69-0480-985F4DB77CD8}"/>
              </a:ext>
            </a:extLst>
          </p:cNvPr>
          <p:cNvSpPr txBox="1"/>
          <p:nvPr/>
        </p:nvSpPr>
        <p:spPr>
          <a:xfrm>
            <a:off x="4946998" y="3488837"/>
            <a:ext cx="4375108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oes not require strict User RBAC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cales well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an be integrated with other systems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benefits from DevOps practice…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imited Infrastructure change tracking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imited Input types and validation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Environment inconsistency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cons as it is another </a:t>
            </a:r>
          </a:p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     abstraction layer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1FB57E80-A018-A0B1-4D5E-838F9781EBBB}"/>
              </a:ext>
            </a:extLst>
          </p:cNvPr>
          <p:cNvSpPr/>
          <p:nvPr/>
        </p:nvSpPr>
        <p:spPr>
          <a:xfrm>
            <a:off x="3358674" y="2850269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27627FF-FCD2-EA77-5398-CDC6E59D9C0A}"/>
              </a:ext>
            </a:extLst>
          </p:cNvPr>
          <p:cNvSpPr/>
          <p:nvPr/>
        </p:nvSpPr>
        <p:spPr>
          <a:xfrm>
            <a:off x="9400820" y="2839067"/>
            <a:ext cx="669707" cy="245407"/>
          </a:xfrm>
          <a:custGeom>
            <a:avLst/>
            <a:gdLst>
              <a:gd name="connsiteX0" fmla="*/ 0 w 669707"/>
              <a:gd name="connsiteY0" fmla="*/ 61352 h 245407"/>
              <a:gd name="connsiteX1" fmla="*/ 547004 w 669707"/>
              <a:gd name="connsiteY1" fmla="*/ 61352 h 245407"/>
              <a:gd name="connsiteX2" fmla="*/ 547004 w 669707"/>
              <a:gd name="connsiteY2" fmla="*/ 0 h 245407"/>
              <a:gd name="connsiteX3" fmla="*/ 669707 w 669707"/>
              <a:gd name="connsiteY3" fmla="*/ 122704 h 245407"/>
              <a:gd name="connsiteX4" fmla="*/ 547004 w 669707"/>
              <a:gd name="connsiteY4" fmla="*/ 245407 h 245407"/>
              <a:gd name="connsiteX5" fmla="*/ 547004 w 669707"/>
              <a:gd name="connsiteY5" fmla="*/ 184055 h 245407"/>
              <a:gd name="connsiteX6" fmla="*/ 0 w 669707"/>
              <a:gd name="connsiteY6" fmla="*/ 184055 h 245407"/>
              <a:gd name="connsiteX7" fmla="*/ 0 w 669707"/>
              <a:gd name="connsiteY7" fmla="*/ 61352 h 24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9707" h="245407" extrusionOk="0">
                <a:moveTo>
                  <a:pt x="0" y="61352"/>
                </a:moveTo>
                <a:cubicBezTo>
                  <a:pt x="189019" y="77875"/>
                  <a:pt x="407720" y="44207"/>
                  <a:pt x="547004" y="61352"/>
                </a:cubicBezTo>
                <a:cubicBezTo>
                  <a:pt x="548801" y="38059"/>
                  <a:pt x="545342" y="28081"/>
                  <a:pt x="547004" y="0"/>
                </a:cubicBezTo>
                <a:cubicBezTo>
                  <a:pt x="590688" y="43511"/>
                  <a:pt x="624706" y="69860"/>
                  <a:pt x="669707" y="122704"/>
                </a:cubicBezTo>
                <a:cubicBezTo>
                  <a:pt x="627217" y="165144"/>
                  <a:pt x="596164" y="191265"/>
                  <a:pt x="547004" y="245407"/>
                </a:cubicBezTo>
                <a:cubicBezTo>
                  <a:pt x="549647" y="216620"/>
                  <a:pt x="549133" y="209594"/>
                  <a:pt x="547004" y="184055"/>
                </a:cubicBezTo>
                <a:cubicBezTo>
                  <a:pt x="367967" y="210480"/>
                  <a:pt x="256026" y="177201"/>
                  <a:pt x="0" y="184055"/>
                </a:cubicBezTo>
                <a:cubicBezTo>
                  <a:pt x="599" y="133513"/>
                  <a:pt x="213" y="121163"/>
                  <a:pt x="0" y="61352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B53F8E3-322F-0C5B-73FC-001E319C1888}"/>
              </a:ext>
            </a:extLst>
          </p:cNvPr>
          <p:cNvSpPr/>
          <p:nvPr/>
        </p:nvSpPr>
        <p:spPr>
          <a:xfrm>
            <a:off x="6680830" y="2854266"/>
            <a:ext cx="545305" cy="237342"/>
          </a:xfrm>
          <a:custGeom>
            <a:avLst/>
            <a:gdLst>
              <a:gd name="connsiteX0" fmla="*/ 0 w 545305"/>
              <a:gd name="connsiteY0" fmla="*/ 59336 h 237342"/>
              <a:gd name="connsiteX1" fmla="*/ 426634 w 545305"/>
              <a:gd name="connsiteY1" fmla="*/ 59336 h 237342"/>
              <a:gd name="connsiteX2" fmla="*/ 426634 w 545305"/>
              <a:gd name="connsiteY2" fmla="*/ 0 h 237342"/>
              <a:gd name="connsiteX3" fmla="*/ 545305 w 545305"/>
              <a:gd name="connsiteY3" fmla="*/ 118671 h 237342"/>
              <a:gd name="connsiteX4" fmla="*/ 426634 w 545305"/>
              <a:gd name="connsiteY4" fmla="*/ 237342 h 237342"/>
              <a:gd name="connsiteX5" fmla="*/ 426634 w 545305"/>
              <a:gd name="connsiteY5" fmla="*/ 178007 h 237342"/>
              <a:gd name="connsiteX6" fmla="*/ 0 w 545305"/>
              <a:gd name="connsiteY6" fmla="*/ 178007 h 237342"/>
              <a:gd name="connsiteX7" fmla="*/ 0 w 545305"/>
              <a:gd name="connsiteY7" fmla="*/ 59336 h 237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5305" h="237342" extrusionOk="0">
                <a:moveTo>
                  <a:pt x="0" y="59336"/>
                </a:moveTo>
                <a:cubicBezTo>
                  <a:pt x="175754" y="65757"/>
                  <a:pt x="238596" y="65041"/>
                  <a:pt x="426634" y="59336"/>
                </a:cubicBezTo>
                <a:cubicBezTo>
                  <a:pt x="425046" y="36575"/>
                  <a:pt x="424541" y="13137"/>
                  <a:pt x="426634" y="0"/>
                </a:cubicBezTo>
                <a:cubicBezTo>
                  <a:pt x="460755" y="42486"/>
                  <a:pt x="502058" y="65675"/>
                  <a:pt x="545305" y="118671"/>
                </a:cubicBezTo>
                <a:cubicBezTo>
                  <a:pt x="516225" y="144178"/>
                  <a:pt x="482138" y="175563"/>
                  <a:pt x="426634" y="237342"/>
                </a:cubicBezTo>
                <a:cubicBezTo>
                  <a:pt x="428082" y="212027"/>
                  <a:pt x="425621" y="205692"/>
                  <a:pt x="426634" y="178007"/>
                </a:cubicBezTo>
                <a:cubicBezTo>
                  <a:pt x="296275" y="179733"/>
                  <a:pt x="134502" y="172857"/>
                  <a:pt x="0" y="178007"/>
                </a:cubicBezTo>
                <a:cubicBezTo>
                  <a:pt x="-5410" y="123908"/>
                  <a:pt x="2994" y="100791"/>
                  <a:pt x="0" y="59336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2426BF3-162F-49FC-4675-917358914730}"/>
              </a:ext>
            </a:extLst>
          </p:cNvPr>
          <p:cNvSpPr txBox="1"/>
          <p:nvPr/>
        </p:nvSpPr>
        <p:spPr>
          <a:xfrm>
            <a:off x="914711" y="4151184"/>
            <a:ext cx="1652312" cy="369332"/>
          </a:xfrm>
          <a:custGeom>
            <a:avLst/>
            <a:gdLst>
              <a:gd name="connsiteX0" fmla="*/ 0 w 1652312"/>
              <a:gd name="connsiteY0" fmla="*/ 0 h 369332"/>
              <a:gd name="connsiteX1" fmla="*/ 534248 w 1652312"/>
              <a:gd name="connsiteY1" fmla="*/ 0 h 369332"/>
              <a:gd name="connsiteX2" fmla="*/ 1035449 w 1652312"/>
              <a:gd name="connsiteY2" fmla="*/ 0 h 369332"/>
              <a:gd name="connsiteX3" fmla="*/ 1652312 w 1652312"/>
              <a:gd name="connsiteY3" fmla="*/ 0 h 369332"/>
              <a:gd name="connsiteX4" fmla="*/ 1652312 w 1652312"/>
              <a:gd name="connsiteY4" fmla="*/ 369332 h 369332"/>
              <a:gd name="connsiteX5" fmla="*/ 1134588 w 1652312"/>
              <a:gd name="connsiteY5" fmla="*/ 369332 h 369332"/>
              <a:gd name="connsiteX6" fmla="*/ 550771 w 1652312"/>
              <a:gd name="connsiteY6" fmla="*/ 369332 h 369332"/>
              <a:gd name="connsiteX7" fmla="*/ 0 w 1652312"/>
              <a:gd name="connsiteY7" fmla="*/ 369332 h 369332"/>
              <a:gd name="connsiteX8" fmla="*/ 0 w 165231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312" h="369332" extrusionOk="0">
                <a:moveTo>
                  <a:pt x="0" y="0"/>
                </a:moveTo>
                <a:cubicBezTo>
                  <a:pt x="111506" y="-14757"/>
                  <a:pt x="312422" y="35711"/>
                  <a:pt x="534248" y="0"/>
                </a:cubicBezTo>
                <a:cubicBezTo>
                  <a:pt x="756074" y="-35711"/>
                  <a:pt x="907398" y="21459"/>
                  <a:pt x="1035449" y="0"/>
                </a:cubicBezTo>
                <a:cubicBezTo>
                  <a:pt x="1163500" y="-21459"/>
                  <a:pt x="1428848" y="17889"/>
                  <a:pt x="1652312" y="0"/>
                </a:cubicBezTo>
                <a:cubicBezTo>
                  <a:pt x="1687900" y="113493"/>
                  <a:pt x="1625505" y="197069"/>
                  <a:pt x="1652312" y="369332"/>
                </a:cubicBezTo>
                <a:cubicBezTo>
                  <a:pt x="1474792" y="394933"/>
                  <a:pt x="1275693" y="319503"/>
                  <a:pt x="1134588" y="369332"/>
                </a:cubicBezTo>
                <a:cubicBezTo>
                  <a:pt x="993483" y="419161"/>
                  <a:pt x="737018" y="333735"/>
                  <a:pt x="550771" y="369332"/>
                </a:cubicBezTo>
                <a:cubicBezTo>
                  <a:pt x="364524" y="404929"/>
                  <a:pt x="174422" y="35167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E1A4093-9917-AF61-BEE1-87B15B960286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13" name="Rectángulo redondeado 14">
              <a:extLst>
                <a:ext uri="{FF2B5EF4-FFF2-40B4-BE49-F238E27FC236}">
                  <a16:creationId xmlns:a16="http://schemas.microsoft.com/office/drawing/2014/main" id="{88D0C9EC-0EEF-04EE-81EA-8A66D83FC309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ángulo 12">
              <a:extLst>
                <a:ext uri="{FF2B5EF4-FFF2-40B4-BE49-F238E27FC236}">
                  <a16:creationId xmlns:a16="http://schemas.microsoft.com/office/drawing/2014/main" id="{26499F31-4BFD-9256-4FC2-5D1FF9A1EF51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using Pipelin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2531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2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o can live with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6529" y="2151874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458" y="2585597"/>
            <a:ext cx="1064041" cy="94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667673" y="1690689"/>
            <a:ext cx="4707353" cy="4802186"/>
          </a:xfrm>
          <a:custGeom>
            <a:avLst/>
            <a:gdLst>
              <a:gd name="connsiteX0" fmla="*/ 0 w 4707353"/>
              <a:gd name="connsiteY0" fmla="*/ 784575 h 4802186"/>
              <a:gd name="connsiteX1" fmla="*/ 784575 w 4707353"/>
              <a:gd name="connsiteY1" fmla="*/ 0 h 4802186"/>
              <a:gd name="connsiteX2" fmla="*/ 1370373 w 4707353"/>
              <a:gd name="connsiteY2" fmla="*/ 0 h 4802186"/>
              <a:gd name="connsiteX3" fmla="*/ 1862025 w 4707353"/>
              <a:gd name="connsiteY3" fmla="*/ 0 h 4802186"/>
              <a:gd name="connsiteX4" fmla="*/ 2322294 w 4707353"/>
              <a:gd name="connsiteY4" fmla="*/ 0 h 4802186"/>
              <a:gd name="connsiteX5" fmla="*/ 2876710 w 4707353"/>
              <a:gd name="connsiteY5" fmla="*/ 0 h 4802186"/>
              <a:gd name="connsiteX6" fmla="*/ 3368362 w 4707353"/>
              <a:gd name="connsiteY6" fmla="*/ 0 h 4802186"/>
              <a:gd name="connsiteX7" fmla="*/ 3922778 w 4707353"/>
              <a:gd name="connsiteY7" fmla="*/ 0 h 4802186"/>
              <a:gd name="connsiteX8" fmla="*/ 4707353 w 4707353"/>
              <a:gd name="connsiteY8" fmla="*/ 784575 h 4802186"/>
              <a:gd name="connsiteX9" fmla="*/ 4707353 w 4707353"/>
              <a:gd name="connsiteY9" fmla="*/ 1258754 h 4802186"/>
              <a:gd name="connsiteX10" fmla="*/ 4707353 w 4707353"/>
              <a:gd name="connsiteY10" fmla="*/ 1797593 h 4802186"/>
              <a:gd name="connsiteX11" fmla="*/ 4707353 w 4707353"/>
              <a:gd name="connsiteY11" fmla="*/ 2336432 h 4802186"/>
              <a:gd name="connsiteX12" fmla="*/ 4707353 w 4707353"/>
              <a:gd name="connsiteY12" fmla="*/ 2842941 h 4802186"/>
              <a:gd name="connsiteX13" fmla="*/ 4707353 w 4707353"/>
              <a:gd name="connsiteY13" fmla="*/ 3446441 h 4802186"/>
              <a:gd name="connsiteX14" fmla="*/ 4707353 w 4707353"/>
              <a:gd name="connsiteY14" fmla="*/ 4017611 h 4802186"/>
              <a:gd name="connsiteX15" fmla="*/ 3922778 w 4707353"/>
              <a:gd name="connsiteY15" fmla="*/ 4802186 h 4802186"/>
              <a:gd name="connsiteX16" fmla="*/ 3368362 w 4707353"/>
              <a:gd name="connsiteY16" fmla="*/ 4802186 h 4802186"/>
              <a:gd name="connsiteX17" fmla="*/ 2845328 w 4707353"/>
              <a:gd name="connsiteY17" fmla="*/ 4802186 h 4802186"/>
              <a:gd name="connsiteX18" fmla="*/ 2416441 w 4707353"/>
              <a:gd name="connsiteY18" fmla="*/ 4802186 h 4802186"/>
              <a:gd name="connsiteX19" fmla="*/ 1956171 w 4707353"/>
              <a:gd name="connsiteY19" fmla="*/ 4802186 h 4802186"/>
              <a:gd name="connsiteX20" fmla="*/ 1370373 w 4707353"/>
              <a:gd name="connsiteY20" fmla="*/ 4802186 h 4802186"/>
              <a:gd name="connsiteX21" fmla="*/ 784575 w 4707353"/>
              <a:gd name="connsiteY21" fmla="*/ 4802186 h 4802186"/>
              <a:gd name="connsiteX22" fmla="*/ 0 w 4707353"/>
              <a:gd name="connsiteY22" fmla="*/ 4017611 h 4802186"/>
              <a:gd name="connsiteX23" fmla="*/ 0 w 4707353"/>
              <a:gd name="connsiteY23" fmla="*/ 3446441 h 4802186"/>
              <a:gd name="connsiteX24" fmla="*/ 0 w 4707353"/>
              <a:gd name="connsiteY24" fmla="*/ 3004593 h 4802186"/>
              <a:gd name="connsiteX25" fmla="*/ 0 w 4707353"/>
              <a:gd name="connsiteY25" fmla="*/ 2465754 h 4802186"/>
              <a:gd name="connsiteX26" fmla="*/ 0 w 4707353"/>
              <a:gd name="connsiteY26" fmla="*/ 1991575 h 4802186"/>
              <a:gd name="connsiteX27" fmla="*/ 0 w 4707353"/>
              <a:gd name="connsiteY27" fmla="*/ 1420405 h 4802186"/>
              <a:gd name="connsiteX28" fmla="*/ 0 w 4707353"/>
              <a:gd name="connsiteY28" fmla="*/ 784575 h 4802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07353" h="4802186" extrusionOk="0">
                <a:moveTo>
                  <a:pt x="0" y="784575"/>
                </a:moveTo>
                <a:cubicBezTo>
                  <a:pt x="-49440" y="320770"/>
                  <a:pt x="256563" y="35544"/>
                  <a:pt x="784575" y="0"/>
                </a:cubicBezTo>
                <a:cubicBezTo>
                  <a:pt x="1010919" y="-53889"/>
                  <a:pt x="1099269" y="27415"/>
                  <a:pt x="1370373" y="0"/>
                </a:cubicBezTo>
                <a:cubicBezTo>
                  <a:pt x="1641477" y="-27415"/>
                  <a:pt x="1647378" y="34760"/>
                  <a:pt x="1862025" y="0"/>
                </a:cubicBezTo>
                <a:cubicBezTo>
                  <a:pt x="2076672" y="-34760"/>
                  <a:pt x="2149682" y="11053"/>
                  <a:pt x="2322294" y="0"/>
                </a:cubicBezTo>
                <a:cubicBezTo>
                  <a:pt x="2494906" y="-11053"/>
                  <a:pt x="2747524" y="7796"/>
                  <a:pt x="2876710" y="0"/>
                </a:cubicBezTo>
                <a:cubicBezTo>
                  <a:pt x="3005896" y="-7796"/>
                  <a:pt x="3165210" y="5090"/>
                  <a:pt x="3368362" y="0"/>
                </a:cubicBezTo>
                <a:cubicBezTo>
                  <a:pt x="3571514" y="-5090"/>
                  <a:pt x="3772601" y="27291"/>
                  <a:pt x="3922778" y="0"/>
                </a:cubicBezTo>
                <a:cubicBezTo>
                  <a:pt x="4353841" y="-21415"/>
                  <a:pt x="4683867" y="383905"/>
                  <a:pt x="4707353" y="784575"/>
                </a:cubicBezTo>
                <a:cubicBezTo>
                  <a:pt x="4719951" y="929013"/>
                  <a:pt x="4662880" y="1073062"/>
                  <a:pt x="4707353" y="1258754"/>
                </a:cubicBezTo>
                <a:cubicBezTo>
                  <a:pt x="4751826" y="1444446"/>
                  <a:pt x="4656214" y="1664078"/>
                  <a:pt x="4707353" y="1797593"/>
                </a:cubicBezTo>
                <a:cubicBezTo>
                  <a:pt x="4758492" y="1931108"/>
                  <a:pt x="4694629" y="2226654"/>
                  <a:pt x="4707353" y="2336432"/>
                </a:cubicBezTo>
                <a:cubicBezTo>
                  <a:pt x="4720077" y="2446210"/>
                  <a:pt x="4664614" y="2717154"/>
                  <a:pt x="4707353" y="2842941"/>
                </a:cubicBezTo>
                <a:cubicBezTo>
                  <a:pt x="4750092" y="2968728"/>
                  <a:pt x="4653669" y="3186124"/>
                  <a:pt x="4707353" y="3446441"/>
                </a:cubicBezTo>
                <a:cubicBezTo>
                  <a:pt x="4761037" y="3706758"/>
                  <a:pt x="4706476" y="3795061"/>
                  <a:pt x="4707353" y="4017611"/>
                </a:cubicBezTo>
                <a:cubicBezTo>
                  <a:pt x="4686143" y="4454403"/>
                  <a:pt x="4326665" y="4781885"/>
                  <a:pt x="3922778" y="4802186"/>
                </a:cubicBezTo>
                <a:cubicBezTo>
                  <a:pt x="3774676" y="4838256"/>
                  <a:pt x="3631580" y="4777626"/>
                  <a:pt x="3368362" y="4802186"/>
                </a:cubicBezTo>
                <a:cubicBezTo>
                  <a:pt x="3105144" y="4826746"/>
                  <a:pt x="3027815" y="4742259"/>
                  <a:pt x="2845328" y="4802186"/>
                </a:cubicBezTo>
                <a:cubicBezTo>
                  <a:pt x="2662841" y="4862113"/>
                  <a:pt x="2606078" y="4783839"/>
                  <a:pt x="2416441" y="4802186"/>
                </a:cubicBezTo>
                <a:cubicBezTo>
                  <a:pt x="2226804" y="4820533"/>
                  <a:pt x="2126049" y="4761204"/>
                  <a:pt x="1956171" y="4802186"/>
                </a:cubicBezTo>
                <a:cubicBezTo>
                  <a:pt x="1786293" y="4843168"/>
                  <a:pt x="1490676" y="4759271"/>
                  <a:pt x="1370373" y="4802186"/>
                </a:cubicBezTo>
                <a:cubicBezTo>
                  <a:pt x="1250070" y="4845101"/>
                  <a:pt x="990738" y="4758016"/>
                  <a:pt x="784575" y="4802186"/>
                </a:cubicBezTo>
                <a:cubicBezTo>
                  <a:pt x="365936" y="4831233"/>
                  <a:pt x="-89864" y="4498309"/>
                  <a:pt x="0" y="4017611"/>
                </a:cubicBezTo>
                <a:cubicBezTo>
                  <a:pt x="-42724" y="3896007"/>
                  <a:pt x="56" y="3717071"/>
                  <a:pt x="0" y="3446441"/>
                </a:cubicBezTo>
                <a:cubicBezTo>
                  <a:pt x="-56" y="3175811"/>
                  <a:pt x="34692" y="3143704"/>
                  <a:pt x="0" y="3004593"/>
                </a:cubicBezTo>
                <a:cubicBezTo>
                  <a:pt x="-34692" y="2865482"/>
                  <a:pt x="49210" y="2588393"/>
                  <a:pt x="0" y="2465754"/>
                </a:cubicBezTo>
                <a:cubicBezTo>
                  <a:pt x="-49210" y="2343115"/>
                  <a:pt x="16819" y="2212889"/>
                  <a:pt x="0" y="1991575"/>
                </a:cubicBezTo>
                <a:cubicBezTo>
                  <a:pt x="-16819" y="1770261"/>
                  <a:pt x="40972" y="1562802"/>
                  <a:pt x="0" y="1420405"/>
                </a:cubicBezTo>
                <a:cubicBezTo>
                  <a:pt x="-40972" y="1278008"/>
                  <a:pt x="61624" y="1043984"/>
                  <a:pt x="0" y="784575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07D54-217A-EB96-4306-79BC832CA630}"/>
              </a:ext>
            </a:extLst>
          </p:cNvPr>
          <p:cNvGrpSpPr/>
          <p:nvPr/>
        </p:nvGrpSpPr>
        <p:grpSpPr>
          <a:xfrm>
            <a:off x="7987602" y="2510473"/>
            <a:ext cx="1158800" cy="1098301"/>
            <a:chOff x="3591201" y="2800773"/>
            <a:chExt cx="887513" cy="946980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94EB215-3E96-1CF3-633E-BA52ED360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77503CE5-0331-8B70-1B9C-DCDB25645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B6293F53-00FC-1E2A-243F-3F24254568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2D573-A12D-A313-D630-7C1973588AA2}"/>
              </a:ext>
            </a:extLst>
          </p:cNvPr>
          <p:cNvGrpSpPr/>
          <p:nvPr/>
        </p:nvGrpSpPr>
        <p:grpSpPr>
          <a:xfrm>
            <a:off x="1883950" y="2364677"/>
            <a:ext cx="1291179" cy="1287835"/>
            <a:chOff x="3409768" y="2600757"/>
            <a:chExt cx="1571305" cy="156027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3BC9F0-D6D5-334D-C2C1-C7A80617C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FD495CD4-4BC7-9EFE-1699-A28CC014D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47EE736-55EF-8CF0-4A6E-92C43B6A57DB}"/>
              </a:ext>
            </a:extLst>
          </p:cNvPr>
          <p:cNvSpPr/>
          <p:nvPr/>
        </p:nvSpPr>
        <p:spPr>
          <a:xfrm>
            <a:off x="564242" y="4496905"/>
            <a:ext cx="3907982" cy="1973671"/>
          </a:xfrm>
          <a:custGeom>
            <a:avLst/>
            <a:gdLst>
              <a:gd name="connsiteX0" fmla="*/ 0 w 3907982"/>
              <a:gd name="connsiteY0" fmla="*/ 328952 h 1973671"/>
              <a:gd name="connsiteX1" fmla="*/ 328952 w 3907982"/>
              <a:gd name="connsiteY1" fmla="*/ 0 h 1973671"/>
              <a:gd name="connsiteX2" fmla="*/ 870632 w 3907982"/>
              <a:gd name="connsiteY2" fmla="*/ 0 h 1973671"/>
              <a:gd name="connsiteX3" fmla="*/ 1347310 w 3907982"/>
              <a:gd name="connsiteY3" fmla="*/ 0 h 1973671"/>
              <a:gd name="connsiteX4" fmla="*/ 1921490 w 3907982"/>
              <a:gd name="connsiteY4" fmla="*/ 0 h 1973671"/>
              <a:gd name="connsiteX5" fmla="*/ 2398168 w 3907982"/>
              <a:gd name="connsiteY5" fmla="*/ 0 h 1973671"/>
              <a:gd name="connsiteX6" fmla="*/ 2972349 w 3907982"/>
              <a:gd name="connsiteY6" fmla="*/ 0 h 1973671"/>
              <a:gd name="connsiteX7" fmla="*/ 3579030 w 3907982"/>
              <a:gd name="connsiteY7" fmla="*/ 0 h 1973671"/>
              <a:gd name="connsiteX8" fmla="*/ 3907982 w 3907982"/>
              <a:gd name="connsiteY8" fmla="*/ 328952 h 1973671"/>
              <a:gd name="connsiteX9" fmla="*/ 3907982 w 3907982"/>
              <a:gd name="connsiteY9" fmla="*/ 754383 h 1973671"/>
              <a:gd name="connsiteX10" fmla="*/ 3907982 w 3907982"/>
              <a:gd name="connsiteY10" fmla="*/ 1166657 h 1973671"/>
              <a:gd name="connsiteX11" fmla="*/ 3907982 w 3907982"/>
              <a:gd name="connsiteY11" fmla="*/ 1644719 h 1973671"/>
              <a:gd name="connsiteX12" fmla="*/ 3579030 w 3907982"/>
              <a:gd name="connsiteY12" fmla="*/ 1973671 h 1973671"/>
              <a:gd name="connsiteX13" fmla="*/ 3102352 w 3907982"/>
              <a:gd name="connsiteY13" fmla="*/ 1973671 h 1973671"/>
              <a:gd name="connsiteX14" fmla="*/ 2593173 w 3907982"/>
              <a:gd name="connsiteY14" fmla="*/ 1973671 h 1973671"/>
              <a:gd name="connsiteX15" fmla="*/ 2051493 w 3907982"/>
              <a:gd name="connsiteY15" fmla="*/ 1973671 h 1973671"/>
              <a:gd name="connsiteX16" fmla="*/ 1574815 w 3907982"/>
              <a:gd name="connsiteY16" fmla="*/ 1973671 h 1973671"/>
              <a:gd name="connsiteX17" fmla="*/ 968134 w 3907982"/>
              <a:gd name="connsiteY17" fmla="*/ 1973671 h 1973671"/>
              <a:gd name="connsiteX18" fmla="*/ 328952 w 3907982"/>
              <a:gd name="connsiteY18" fmla="*/ 1973671 h 1973671"/>
              <a:gd name="connsiteX19" fmla="*/ 0 w 3907982"/>
              <a:gd name="connsiteY19" fmla="*/ 1644719 h 1973671"/>
              <a:gd name="connsiteX20" fmla="*/ 0 w 3907982"/>
              <a:gd name="connsiteY20" fmla="*/ 1206130 h 1973671"/>
              <a:gd name="connsiteX21" fmla="*/ 0 w 3907982"/>
              <a:gd name="connsiteY21" fmla="*/ 754383 h 1973671"/>
              <a:gd name="connsiteX22" fmla="*/ 0 w 3907982"/>
              <a:gd name="connsiteY22" fmla="*/ 328952 h 197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73671" fill="none" extrusionOk="0">
                <a:moveTo>
                  <a:pt x="0" y="328952"/>
                </a:moveTo>
                <a:cubicBezTo>
                  <a:pt x="-20651" y="146108"/>
                  <a:pt x="167917" y="17770"/>
                  <a:pt x="328952" y="0"/>
                </a:cubicBezTo>
                <a:cubicBezTo>
                  <a:pt x="460823" y="-3407"/>
                  <a:pt x="745429" y="6986"/>
                  <a:pt x="870632" y="0"/>
                </a:cubicBezTo>
                <a:cubicBezTo>
                  <a:pt x="995835" y="-6986"/>
                  <a:pt x="1209204" y="5094"/>
                  <a:pt x="1347310" y="0"/>
                </a:cubicBezTo>
                <a:cubicBezTo>
                  <a:pt x="1485416" y="-5094"/>
                  <a:pt x="1767094" y="43327"/>
                  <a:pt x="1921490" y="0"/>
                </a:cubicBezTo>
                <a:cubicBezTo>
                  <a:pt x="2075886" y="-43327"/>
                  <a:pt x="2194986" y="32994"/>
                  <a:pt x="2398168" y="0"/>
                </a:cubicBezTo>
                <a:cubicBezTo>
                  <a:pt x="2601350" y="-32994"/>
                  <a:pt x="2725470" y="8147"/>
                  <a:pt x="2972349" y="0"/>
                </a:cubicBezTo>
                <a:cubicBezTo>
                  <a:pt x="3219228" y="-8147"/>
                  <a:pt x="3301264" y="51108"/>
                  <a:pt x="3579030" y="0"/>
                </a:cubicBezTo>
                <a:cubicBezTo>
                  <a:pt x="3786036" y="-43979"/>
                  <a:pt x="3862847" y="129974"/>
                  <a:pt x="3907982" y="328952"/>
                </a:cubicBezTo>
                <a:cubicBezTo>
                  <a:pt x="3927190" y="499761"/>
                  <a:pt x="3865014" y="622426"/>
                  <a:pt x="3907982" y="754383"/>
                </a:cubicBezTo>
                <a:cubicBezTo>
                  <a:pt x="3950950" y="886340"/>
                  <a:pt x="3884282" y="1010150"/>
                  <a:pt x="3907982" y="1166657"/>
                </a:cubicBezTo>
                <a:cubicBezTo>
                  <a:pt x="3931682" y="1323164"/>
                  <a:pt x="3889635" y="1536617"/>
                  <a:pt x="3907982" y="1644719"/>
                </a:cubicBezTo>
                <a:cubicBezTo>
                  <a:pt x="3943622" y="1816961"/>
                  <a:pt x="3755069" y="2012715"/>
                  <a:pt x="3579030" y="1973671"/>
                </a:cubicBezTo>
                <a:cubicBezTo>
                  <a:pt x="3444668" y="1990488"/>
                  <a:pt x="3272787" y="1932051"/>
                  <a:pt x="3102352" y="1973671"/>
                </a:cubicBezTo>
                <a:cubicBezTo>
                  <a:pt x="2931917" y="2015291"/>
                  <a:pt x="2776420" y="1930870"/>
                  <a:pt x="2593173" y="1973671"/>
                </a:cubicBezTo>
                <a:cubicBezTo>
                  <a:pt x="2409926" y="2016472"/>
                  <a:pt x="2166683" y="1935861"/>
                  <a:pt x="2051493" y="1973671"/>
                </a:cubicBezTo>
                <a:cubicBezTo>
                  <a:pt x="1936303" y="2011481"/>
                  <a:pt x="1706003" y="1931122"/>
                  <a:pt x="1574815" y="1973671"/>
                </a:cubicBezTo>
                <a:cubicBezTo>
                  <a:pt x="1443627" y="2016220"/>
                  <a:pt x="1247899" y="1953274"/>
                  <a:pt x="968134" y="1973671"/>
                </a:cubicBezTo>
                <a:cubicBezTo>
                  <a:pt x="688369" y="1994068"/>
                  <a:pt x="520585" y="1903923"/>
                  <a:pt x="328952" y="1973671"/>
                </a:cubicBezTo>
                <a:cubicBezTo>
                  <a:pt x="155980" y="2004226"/>
                  <a:pt x="13462" y="1832062"/>
                  <a:pt x="0" y="1644719"/>
                </a:cubicBezTo>
                <a:cubicBezTo>
                  <a:pt x="-41624" y="1532307"/>
                  <a:pt x="43509" y="1313492"/>
                  <a:pt x="0" y="1206130"/>
                </a:cubicBezTo>
                <a:cubicBezTo>
                  <a:pt x="-43509" y="1098768"/>
                  <a:pt x="9235" y="894212"/>
                  <a:pt x="0" y="754383"/>
                </a:cubicBezTo>
                <a:cubicBezTo>
                  <a:pt x="-9235" y="614554"/>
                  <a:pt x="45077" y="497656"/>
                  <a:pt x="0" y="328952"/>
                </a:cubicBezTo>
                <a:close/>
              </a:path>
              <a:path w="3907982" h="1973671" stroke="0" extrusionOk="0">
                <a:moveTo>
                  <a:pt x="0" y="328952"/>
                </a:moveTo>
                <a:cubicBezTo>
                  <a:pt x="-17036" y="136769"/>
                  <a:pt x="106867" y="15167"/>
                  <a:pt x="328952" y="0"/>
                </a:cubicBezTo>
                <a:cubicBezTo>
                  <a:pt x="603979" y="-9680"/>
                  <a:pt x="800722" y="68343"/>
                  <a:pt x="935633" y="0"/>
                </a:cubicBezTo>
                <a:cubicBezTo>
                  <a:pt x="1070544" y="-68343"/>
                  <a:pt x="1330191" y="21190"/>
                  <a:pt x="1444812" y="0"/>
                </a:cubicBezTo>
                <a:cubicBezTo>
                  <a:pt x="1559433" y="-21190"/>
                  <a:pt x="1790638" y="47625"/>
                  <a:pt x="1921490" y="0"/>
                </a:cubicBezTo>
                <a:cubicBezTo>
                  <a:pt x="2052342" y="-47625"/>
                  <a:pt x="2277783" y="49593"/>
                  <a:pt x="2495671" y="0"/>
                </a:cubicBezTo>
                <a:cubicBezTo>
                  <a:pt x="2713559" y="-49593"/>
                  <a:pt x="2761626" y="33268"/>
                  <a:pt x="3004850" y="0"/>
                </a:cubicBezTo>
                <a:cubicBezTo>
                  <a:pt x="3248074" y="-33268"/>
                  <a:pt x="3393992" y="11087"/>
                  <a:pt x="3579030" y="0"/>
                </a:cubicBezTo>
                <a:cubicBezTo>
                  <a:pt x="3756092" y="-43988"/>
                  <a:pt x="3877284" y="189938"/>
                  <a:pt x="3907982" y="328952"/>
                </a:cubicBezTo>
                <a:cubicBezTo>
                  <a:pt x="3931566" y="483168"/>
                  <a:pt x="3882106" y="626174"/>
                  <a:pt x="3907982" y="741226"/>
                </a:cubicBezTo>
                <a:cubicBezTo>
                  <a:pt x="3933858" y="856278"/>
                  <a:pt x="3897496" y="1066877"/>
                  <a:pt x="3907982" y="1179815"/>
                </a:cubicBezTo>
                <a:cubicBezTo>
                  <a:pt x="3918468" y="1292753"/>
                  <a:pt x="3883749" y="1486061"/>
                  <a:pt x="3907982" y="1644719"/>
                </a:cubicBezTo>
                <a:cubicBezTo>
                  <a:pt x="3929061" y="1805565"/>
                  <a:pt x="3804953" y="1945139"/>
                  <a:pt x="3579030" y="1973671"/>
                </a:cubicBezTo>
                <a:cubicBezTo>
                  <a:pt x="3322915" y="1984342"/>
                  <a:pt x="3289776" y="1938820"/>
                  <a:pt x="3037350" y="1973671"/>
                </a:cubicBezTo>
                <a:cubicBezTo>
                  <a:pt x="2784924" y="2008522"/>
                  <a:pt x="2703014" y="1930405"/>
                  <a:pt x="2560672" y="1973671"/>
                </a:cubicBezTo>
                <a:cubicBezTo>
                  <a:pt x="2418330" y="2016937"/>
                  <a:pt x="2234328" y="1937553"/>
                  <a:pt x="2018993" y="1973671"/>
                </a:cubicBezTo>
                <a:cubicBezTo>
                  <a:pt x="1803658" y="2009789"/>
                  <a:pt x="1706910" y="1955422"/>
                  <a:pt x="1412311" y="1973671"/>
                </a:cubicBezTo>
                <a:cubicBezTo>
                  <a:pt x="1117712" y="1991920"/>
                  <a:pt x="1139380" y="1957958"/>
                  <a:pt x="870632" y="1973671"/>
                </a:cubicBezTo>
                <a:cubicBezTo>
                  <a:pt x="601884" y="1989384"/>
                  <a:pt x="522801" y="1956084"/>
                  <a:pt x="328952" y="1973671"/>
                </a:cubicBezTo>
                <a:cubicBezTo>
                  <a:pt x="119289" y="1974823"/>
                  <a:pt x="22827" y="1785244"/>
                  <a:pt x="0" y="1644719"/>
                </a:cubicBezTo>
                <a:cubicBezTo>
                  <a:pt x="-42726" y="1426548"/>
                  <a:pt x="37150" y="1382597"/>
                  <a:pt x="0" y="1192972"/>
                </a:cubicBezTo>
                <a:cubicBezTo>
                  <a:pt x="-37150" y="1003347"/>
                  <a:pt x="47038" y="893053"/>
                  <a:pt x="0" y="780699"/>
                </a:cubicBezTo>
                <a:cubicBezTo>
                  <a:pt x="-47038" y="668345"/>
                  <a:pt x="18524" y="510819"/>
                  <a:pt x="0" y="32895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  <a:alpha val="0"/>
                </a:schemeClr>
              </a:gs>
              <a:gs pos="38000">
                <a:schemeClr val="accent2">
                  <a:lumMod val="97000"/>
                  <a:lumOff val="3000"/>
                </a:schemeClr>
              </a:gs>
              <a:gs pos="55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5511DB5-BA82-0B4D-6C1F-BD6988456645}"/>
              </a:ext>
            </a:extLst>
          </p:cNvPr>
          <p:cNvSpPr/>
          <p:nvPr/>
        </p:nvSpPr>
        <p:spPr>
          <a:xfrm>
            <a:off x="576146" y="3630212"/>
            <a:ext cx="3907982" cy="1948810"/>
          </a:xfrm>
          <a:custGeom>
            <a:avLst/>
            <a:gdLst>
              <a:gd name="connsiteX0" fmla="*/ 0 w 3907982"/>
              <a:gd name="connsiteY0" fmla="*/ 324808 h 1948810"/>
              <a:gd name="connsiteX1" fmla="*/ 324808 w 3907982"/>
              <a:gd name="connsiteY1" fmla="*/ 0 h 1948810"/>
              <a:gd name="connsiteX2" fmla="*/ 867869 w 3907982"/>
              <a:gd name="connsiteY2" fmla="*/ 0 h 1948810"/>
              <a:gd name="connsiteX3" fmla="*/ 1345763 w 3907982"/>
              <a:gd name="connsiteY3" fmla="*/ 0 h 1948810"/>
              <a:gd name="connsiteX4" fmla="*/ 1921407 w 3907982"/>
              <a:gd name="connsiteY4" fmla="*/ 0 h 1948810"/>
              <a:gd name="connsiteX5" fmla="*/ 2399301 w 3907982"/>
              <a:gd name="connsiteY5" fmla="*/ 0 h 1948810"/>
              <a:gd name="connsiteX6" fmla="*/ 2974946 w 3907982"/>
              <a:gd name="connsiteY6" fmla="*/ 0 h 1948810"/>
              <a:gd name="connsiteX7" fmla="*/ 3583174 w 3907982"/>
              <a:gd name="connsiteY7" fmla="*/ 0 h 1948810"/>
              <a:gd name="connsiteX8" fmla="*/ 3907982 w 3907982"/>
              <a:gd name="connsiteY8" fmla="*/ 324808 h 1948810"/>
              <a:gd name="connsiteX9" fmla="*/ 3907982 w 3907982"/>
              <a:gd name="connsiteY9" fmla="*/ 744881 h 1948810"/>
              <a:gd name="connsiteX10" fmla="*/ 3907982 w 3907982"/>
              <a:gd name="connsiteY10" fmla="*/ 1151962 h 1948810"/>
              <a:gd name="connsiteX11" fmla="*/ 3907982 w 3907982"/>
              <a:gd name="connsiteY11" fmla="*/ 1624002 h 1948810"/>
              <a:gd name="connsiteX12" fmla="*/ 3583174 w 3907982"/>
              <a:gd name="connsiteY12" fmla="*/ 1948810 h 1948810"/>
              <a:gd name="connsiteX13" fmla="*/ 3105280 w 3907982"/>
              <a:gd name="connsiteY13" fmla="*/ 1948810 h 1948810"/>
              <a:gd name="connsiteX14" fmla="*/ 2594803 w 3907982"/>
              <a:gd name="connsiteY14" fmla="*/ 1948810 h 1948810"/>
              <a:gd name="connsiteX15" fmla="*/ 2051742 w 3907982"/>
              <a:gd name="connsiteY15" fmla="*/ 1948810 h 1948810"/>
              <a:gd name="connsiteX16" fmla="*/ 1573848 w 3907982"/>
              <a:gd name="connsiteY16" fmla="*/ 1948810 h 1948810"/>
              <a:gd name="connsiteX17" fmla="*/ 965620 w 3907982"/>
              <a:gd name="connsiteY17" fmla="*/ 1948810 h 1948810"/>
              <a:gd name="connsiteX18" fmla="*/ 324808 w 3907982"/>
              <a:gd name="connsiteY18" fmla="*/ 1948810 h 1948810"/>
              <a:gd name="connsiteX19" fmla="*/ 0 w 3907982"/>
              <a:gd name="connsiteY19" fmla="*/ 1624002 h 1948810"/>
              <a:gd name="connsiteX20" fmla="*/ 0 w 3907982"/>
              <a:gd name="connsiteY20" fmla="*/ 1190937 h 1948810"/>
              <a:gd name="connsiteX21" fmla="*/ 0 w 3907982"/>
              <a:gd name="connsiteY21" fmla="*/ 744881 h 1948810"/>
              <a:gd name="connsiteX22" fmla="*/ 0 w 3907982"/>
              <a:gd name="connsiteY22" fmla="*/ 324808 h 194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48810" fill="none" extrusionOk="0">
                <a:moveTo>
                  <a:pt x="0" y="324808"/>
                </a:moveTo>
                <a:cubicBezTo>
                  <a:pt x="-9814" y="144866"/>
                  <a:pt x="183880" y="33110"/>
                  <a:pt x="324808" y="0"/>
                </a:cubicBezTo>
                <a:cubicBezTo>
                  <a:pt x="511642" y="-49885"/>
                  <a:pt x="676449" y="10538"/>
                  <a:pt x="867869" y="0"/>
                </a:cubicBezTo>
                <a:cubicBezTo>
                  <a:pt x="1059289" y="-10538"/>
                  <a:pt x="1232694" y="38815"/>
                  <a:pt x="1345763" y="0"/>
                </a:cubicBezTo>
                <a:cubicBezTo>
                  <a:pt x="1458832" y="-38815"/>
                  <a:pt x="1719905" y="18510"/>
                  <a:pt x="1921407" y="0"/>
                </a:cubicBezTo>
                <a:cubicBezTo>
                  <a:pt x="2122909" y="-18510"/>
                  <a:pt x="2244503" y="13959"/>
                  <a:pt x="2399301" y="0"/>
                </a:cubicBezTo>
                <a:cubicBezTo>
                  <a:pt x="2554099" y="-13959"/>
                  <a:pt x="2739638" y="61767"/>
                  <a:pt x="2974946" y="0"/>
                </a:cubicBezTo>
                <a:cubicBezTo>
                  <a:pt x="3210254" y="-61767"/>
                  <a:pt x="3352165" y="29902"/>
                  <a:pt x="3583174" y="0"/>
                </a:cubicBezTo>
                <a:cubicBezTo>
                  <a:pt x="3767010" y="-7724"/>
                  <a:pt x="3893431" y="139843"/>
                  <a:pt x="3907982" y="324808"/>
                </a:cubicBezTo>
                <a:cubicBezTo>
                  <a:pt x="3917924" y="436572"/>
                  <a:pt x="3883703" y="595369"/>
                  <a:pt x="3907982" y="744881"/>
                </a:cubicBezTo>
                <a:cubicBezTo>
                  <a:pt x="3932261" y="894393"/>
                  <a:pt x="3894731" y="1056175"/>
                  <a:pt x="3907982" y="1151962"/>
                </a:cubicBezTo>
                <a:cubicBezTo>
                  <a:pt x="3921233" y="1247749"/>
                  <a:pt x="3884915" y="1416136"/>
                  <a:pt x="3907982" y="1624002"/>
                </a:cubicBezTo>
                <a:cubicBezTo>
                  <a:pt x="3951987" y="1791742"/>
                  <a:pt x="3755826" y="1995464"/>
                  <a:pt x="3583174" y="1948810"/>
                </a:cubicBezTo>
                <a:cubicBezTo>
                  <a:pt x="3376622" y="1978462"/>
                  <a:pt x="3333771" y="1894812"/>
                  <a:pt x="3105280" y="1948810"/>
                </a:cubicBezTo>
                <a:cubicBezTo>
                  <a:pt x="2876789" y="2002808"/>
                  <a:pt x="2821251" y="1905816"/>
                  <a:pt x="2594803" y="1948810"/>
                </a:cubicBezTo>
                <a:cubicBezTo>
                  <a:pt x="2368355" y="1991804"/>
                  <a:pt x="2240340" y="1918797"/>
                  <a:pt x="2051742" y="1948810"/>
                </a:cubicBezTo>
                <a:cubicBezTo>
                  <a:pt x="1863144" y="1978823"/>
                  <a:pt x="1807665" y="1907858"/>
                  <a:pt x="1573848" y="1948810"/>
                </a:cubicBezTo>
                <a:cubicBezTo>
                  <a:pt x="1340031" y="1989762"/>
                  <a:pt x="1221594" y="1931019"/>
                  <a:pt x="965620" y="1948810"/>
                </a:cubicBezTo>
                <a:cubicBezTo>
                  <a:pt x="709646" y="1966601"/>
                  <a:pt x="491756" y="1948759"/>
                  <a:pt x="324808" y="1948810"/>
                </a:cubicBezTo>
                <a:cubicBezTo>
                  <a:pt x="151042" y="1968543"/>
                  <a:pt x="16420" y="1810302"/>
                  <a:pt x="0" y="1624002"/>
                </a:cubicBezTo>
                <a:cubicBezTo>
                  <a:pt x="-16740" y="1503674"/>
                  <a:pt x="50220" y="1313890"/>
                  <a:pt x="0" y="1190937"/>
                </a:cubicBezTo>
                <a:cubicBezTo>
                  <a:pt x="-50220" y="1067984"/>
                  <a:pt x="52467" y="858783"/>
                  <a:pt x="0" y="744881"/>
                </a:cubicBezTo>
                <a:cubicBezTo>
                  <a:pt x="-52467" y="630979"/>
                  <a:pt x="2738" y="488934"/>
                  <a:pt x="0" y="324808"/>
                </a:cubicBezTo>
                <a:close/>
              </a:path>
              <a:path w="3907982" h="1948810" stroke="0" extrusionOk="0">
                <a:moveTo>
                  <a:pt x="0" y="324808"/>
                </a:moveTo>
                <a:cubicBezTo>
                  <a:pt x="-16458" y="135269"/>
                  <a:pt x="100042" y="17032"/>
                  <a:pt x="324808" y="0"/>
                </a:cubicBezTo>
                <a:cubicBezTo>
                  <a:pt x="584856" y="-70117"/>
                  <a:pt x="686307" y="72296"/>
                  <a:pt x="933036" y="0"/>
                </a:cubicBezTo>
                <a:cubicBezTo>
                  <a:pt x="1179765" y="-72296"/>
                  <a:pt x="1243637" y="4369"/>
                  <a:pt x="1443514" y="0"/>
                </a:cubicBezTo>
                <a:cubicBezTo>
                  <a:pt x="1643391" y="-4369"/>
                  <a:pt x="1762975" y="54884"/>
                  <a:pt x="1921407" y="0"/>
                </a:cubicBezTo>
                <a:cubicBezTo>
                  <a:pt x="2079839" y="-54884"/>
                  <a:pt x="2256426" y="16742"/>
                  <a:pt x="2497052" y="0"/>
                </a:cubicBezTo>
                <a:cubicBezTo>
                  <a:pt x="2737679" y="-16742"/>
                  <a:pt x="2804866" y="36103"/>
                  <a:pt x="3007529" y="0"/>
                </a:cubicBezTo>
                <a:cubicBezTo>
                  <a:pt x="3210192" y="-36103"/>
                  <a:pt x="3298463" y="3978"/>
                  <a:pt x="3583174" y="0"/>
                </a:cubicBezTo>
                <a:cubicBezTo>
                  <a:pt x="3756999" y="-53038"/>
                  <a:pt x="3892316" y="167193"/>
                  <a:pt x="3907982" y="324808"/>
                </a:cubicBezTo>
                <a:cubicBezTo>
                  <a:pt x="3914214" y="511100"/>
                  <a:pt x="3875098" y="647723"/>
                  <a:pt x="3907982" y="731889"/>
                </a:cubicBezTo>
                <a:cubicBezTo>
                  <a:pt x="3940866" y="816055"/>
                  <a:pt x="3881811" y="1057140"/>
                  <a:pt x="3907982" y="1164953"/>
                </a:cubicBezTo>
                <a:cubicBezTo>
                  <a:pt x="3934153" y="1272766"/>
                  <a:pt x="3895042" y="1405071"/>
                  <a:pt x="3907982" y="1624002"/>
                </a:cubicBezTo>
                <a:cubicBezTo>
                  <a:pt x="3923788" y="1787770"/>
                  <a:pt x="3773966" y="1941456"/>
                  <a:pt x="3583174" y="1948810"/>
                </a:cubicBezTo>
                <a:cubicBezTo>
                  <a:pt x="3337323" y="1967761"/>
                  <a:pt x="3255795" y="1893168"/>
                  <a:pt x="3040113" y="1948810"/>
                </a:cubicBezTo>
                <a:cubicBezTo>
                  <a:pt x="2824431" y="2004452"/>
                  <a:pt x="2690484" y="1893128"/>
                  <a:pt x="2562219" y="1948810"/>
                </a:cubicBezTo>
                <a:cubicBezTo>
                  <a:pt x="2433954" y="2004492"/>
                  <a:pt x="2238330" y="1944723"/>
                  <a:pt x="2019158" y="1948810"/>
                </a:cubicBezTo>
                <a:cubicBezTo>
                  <a:pt x="1799986" y="1952897"/>
                  <a:pt x="1605572" y="1902699"/>
                  <a:pt x="1410930" y="1948810"/>
                </a:cubicBezTo>
                <a:cubicBezTo>
                  <a:pt x="1216288" y="1994921"/>
                  <a:pt x="1011217" y="1916185"/>
                  <a:pt x="867869" y="1948810"/>
                </a:cubicBezTo>
                <a:cubicBezTo>
                  <a:pt x="724521" y="1981435"/>
                  <a:pt x="500572" y="1910232"/>
                  <a:pt x="324808" y="1948810"/>
                </a:cubicBezTo>
                <a:cubicBezTo>
                  <a:pt x="106065" y="1950430"/>
                  <a:pt x="3372" y="1797311"/>
                  <a:pt x="0" y="1624002"/>
                </a:cubicBezTo>
                <a:cubicBezTo>
                  <a:pt x="-3772" y="1437588"/>
                  <a:pt x="12891" y="1341957"/>
                  <a:pt x="0" y="1177945"/>
                </a:cubicBezTo>
                <a:cubicBezTo>
                  <a:pt x="-12891" y="1013933"/>
                  <a:pt x="47923" y="937091"/>
                  <a:pt x="0" y="770865"/>
                </a:cubicBezTo>
                <a:cubicBezTo>
                  <a:pt x="-47923" y="604639"/>
                  <a:pt x="11915" y="419747"/>
                  <a:pt x="0" y="324808"/>
                </a:cubicBezTo>
                <a:close/>
              </a:path>
            </a:pathLst>
          </a:custGeom>
          <a:gradFill flip="none" rotWithShape="1">
            <a:gsLst>
              <a:gs pos="23000">
                <a:schemeClr val="accent6">
                  <a:lumMod val="67000"/>
                  <a:alpha val="0"/>
                </a:schemeClr>
              </a:gs>
              <a:gs pos="50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32C0AE-654A-2838-C77B-22EEE672F3DB}"/>
              </a:ext>
            </a:extLst>
          </p:cNvPr>
          <p:cNvSpPr txBox="1"/>
          <p:nvPr/>
        </p:nvSpPr>
        <p:spPr>
          <a:xfrm>
            <a:off x="772159" y="4639328"/>
            <a:ext cx="1323054" cy="369332"/>
          </a:xfrm>
          <a:custGeom>
            <a:avLst/>
            <a:gdLst>
              <a:gd name="connsiteX0" fmla="*/ 0 w 1323054"/>
              <a:gd name="connsiteY0" fmla="*/ 0 h 369332"/>
              <a:gd name="connsiteX1" fmla="*/ 427787 w 1323054"/>
              <a:gd name="connsiteY1" fmla="*/ 0 h 369332"/>
              <a:gd name="connsiteX2" fmla="*/ 829114 w 1323054"/>
              <a:gd name="connsiteY2" fmla="*/ 0 h 369332"/>
              <a:gd name="connsiteX3" fmla="*/ 1323054 w 1323054"/>
              <a:gd name="connsiteY3" fmla="*/ 0 h 369332"/>
              <a:gd name="connsiteX4" fmla="*/ 1323054 w 1323054"/>
              <a:gd name="connsiteY4" fmla="*/ 369332 h 369332"/>
              <a:gd name="connsiteX5" fmla="*/ 908497 w 1323054"/>
              <a:gd name="connsiteY5" fmla="*/ 369332 h 369332"/>
              <a:gd name="connsiteX6" fmla="*/ 441018 w 1323054"/>
              <a:gd name="connsiteY6" fmla="*/ 369332 h 369332"/>
              <a:gd name="connsiteX7" fmla="*/ 0 w 1323054"/>
              <a:gd name="connsiteY7" fmla="*/ 369332 h 369332"/>
              <a:gd name="connsiteX8" fmla="*/ 0 w 132305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3054" h="369332" extrusionOk="0">
                <a:moveTo>
                  <a:pt x="0" y="0"/>
                </a:moveTo>
                <a:cubicBezTo>
                  <a:pt x="140916" y="-24695"/>
                  <a:pt x="229075" y="49349"/>
                  <a:pt x="427787" y="0"/>
                </a:cubicBezTo>
                <a:cubicBezTo>
                  <a:pt x="626499" y="-49349"/>
                  <a:pt x="681920" y="40189"/>
                  <a:pt x="829114" y="0"/>
                </a:cubicBezTo>
                <a:cubicBezTo>
                  <a:pt x="976308" y="-40189"/>
                  <a:pt x="1209277" y="51528"/>
                  <a:pt x="1323054" y="0"/>
                </a:cubicBezTo>
                <a:cubicBezTo>
                  <a:pt x="1358642" y="113493"/>
                  <a:pt x="1296247" y="197069"/>
                  <a:pt x="1323054" y="369332"/>
                </a:cubicBezTo>
                <a:cubicBezTo>
                  <a:pt x="1173213" y="380433"/>
                  <a:pt x="1061290" y="360094"/>
                  <a:pt x="908497" y="369332"/>
                </a:cubicBezTo>
                <a:cubicBezTo>
                  <a:pt x="755704" y="378570"/>
                  <a:pt x="567231" y="359462"/>
                  <a:pt x="441018" y="369332"/>
                </a:cubicBezTo>
                <a:cubicBezTo>
                  <a:pt x="314805" y="379202"/>
                  <a:pt x="120376" y="33323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D727FC-C6A3-9DAF-8AF5-DF0A415096C9}"/>
              </a:ext>
            </a:extLst>
          </p:cNvPr>
          <p:cNvSpPr txBox="1"/>
          <p:nvPr/>
        </p:nvSpPr>
        <p:spPr>
          <a:xfrm>
            <a:off x="1817283" y="5109175"/>
            <a:ext cx="2624821" cy="369332"/>
          </a:xfrm>
          <a:custGeom>
            <a:avLst/>
            <a:gdLst>
              <a:gd name="connsiteX0" fmla="*/ 0 w 2624821"/>
              <a:gd name="connsiteY0" fmla="*/ 0 h 369332"/>
              <a:gd name="connsiteX1" fmla="*/ 498716 w 2624821"/>
              <a:gd name="connsiteY1" fmla="*/ 0 h 369332"/>
              <a:gd name="connsiteX2" fmla="*/ 944936 w 2624821"/>
              <a:gd name="connsiteY2" fmla="*/ 0 h 369332"/>
              <a:gd name="connsiteX3" fmla="*/ 1522396 w 2624821"/>
              <a:gd name="connsiteY3" fmla="*/ 0 h 369332"/>
              <a:gd name="connsiteX4" fmla="*/ 2021112 w 2624821"/>
              <a:gd name="connsiteY4" fmla="*/ 0 h 369332"/>
              <a:gd name="connsiteX5" fmla="*/ 2624821 w 2624821"/>
              <a:gd name="connsiteY5" fmla="*/ 0 h 369332"/>
              <a:gd name="connsiteX6" fmla="*/ 2624821 w 2624821"/>
              <a:gd name="connsiteY6" fmla="*/ 369332 h 369332"/>
              <a:gd name="connsiteX7" fmla="*/ 2099857 w 2624821"/>
              <a:gd name="connsiteY7" fmla="*/ 369332 h 369332"/>
              <a:gd name="connsiteX8" fmla="*/ 1522396 w 2624821"/>
              <a:gd name="connsiteY8" fmla="*/ 369332 h 369332"/>
              <a:gd name="connsiteX9" fmla="*/ 1076177 w 2624821"/>
              <a:gd name="connsiteY9" fmla="*/ 369332 h 369332"/>
              <a:gd name="connsiteX10" fmla="*/ 551212 w 2624821"/>
              <a:gd name="connsiteY10" fmla="*/ 369332 h 369332"/>
              <a:gd name="connsiteX11" fmla="*/ 0 w 2624821"/>
              <a:gd name="connsiteY11" fmla="*/ 369332 h 369332"/>
              <a:gd name="connsiteX12" fmla="*/ 0 w 2624821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24821" h="369332" extrusionOk="0">
                <a:moveTo>
                  <a:pt x="0" y="0"/>
                </a:moveTo>
                <a:cubicBezTo>
                  <a:pt x="202232" y="-43188"/>
                  <a:pt x="350877" y="19620"/>
                  <a:pt x="498716" y="0"/>
                </a:cubicBezTo>
                <a:cubicBezTo>
                  <a:pt x="646555" y="-19620"/>
                  <a:pt x="825399" y="48375"/>
                  <a:pt x="944936" y="0"/>
                </a:cubicBezTo>
                <a:cubicBezTo>
                  <a:pt x="1064473" y="-48375"/>
                  <a:pt x="1382501" y="49983"/>
                  <a:pt x="1522396" y="0"/>
                </a:cubicBezTo>
                <a:cubicBezTo>
                  <a:pt x="1662291" y="-49983"/>
                  <a:pt x="1891154" y="37239"/>
                  <a:pt x="2021112" y="0"/>
                </a:cubicBezTo>
                <a:cubicBezTo>
                  <a:pt x="2151070" y="-37239"/>
                  <a:pt x="2400332" y="31076"/>
                  <a:pt x="2624821" y="0"/>
                </a:cubicBezTo>
                <a:cubicBezTo>
                  <a:pt x="2660981" y="81226"/>
                  <a:pt x="2603283" y="278722"/>
                  <a:pt x="2624821" y="369332"/>
                </a:cubicBezTo>
                <a:cubicBezTo>
                  <a:pt x="2425850" y="421389"/>
                  <a:pt x="2251795" y="333479"/>
                  <a:pt x="2099857" y="369332"/>
                </a:cubicBezTo>
                <a:cubicBezTo>
                  <a:pt x="1947919" y="405185"/>
                  <a:pt x="1726067" y="344819"/>
                  <a:pt x="1522396" y="369332"/>
                </a:cubicBezTo>
                <a:cubicBezTo>
                  <a:pt x="1318725" y="393845"/>
                  <a:pt x="1282524" y="321123"/>
                  <a:pt x="1076177" y="369332"/>
                </a:cubicBezTo>
                <a:cubicBezTo>
                  <a:pt x="869830" y="417541"/>
                  <a:pt x="780650" y="353207"/>
                  <a:pt x="551212" y="369332"/>
                </a:cubicBezTo>
                <a:cubicBezTo>
                  <a:pt x="321775" y="385457"/>
                  <a:pt x="157209" y="32414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ons/Onboar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73F669-346B-254F-DCD9-B13DEB261A29}"/>
              </a:ext>
            </a:extLst>
          </p:cNvPr>
          <p:cNvSpPr txBox="1"/>
          <p:nvPr/>
        </p:nvSpPr>
        <p:spPr>
          <a:xfrm>
            <a:off x="729796" y="3741877"/>
            <a:ext cx="1561453" cy="369332"/>
          </a:xfrm>
          <a:custGeom>
            <a:avLst/>
            <a:gdLst>
              <a:gd name="connsiteX0" fmla="*/ 0 w 1561453"/>
              <a:gd name="connsiteY0" fmla="*/ 0 h 369332"/>
              <a:gd name="connsiteX1" fmla="*/ 504870 w 1561453"/>
              <a:gd name="connsiteY1" fmla="*/ 0 h 369332"/>
              <a:gd name="connsiteX2" fmla="*/ 978511 w 1561453"/>
              <a:gd name="connsiteY2" fmla="*/ 0 h 369332"/>
              <a:gd name="connsiteX3" fmla="*/ 1561453 w 1561453"/>
              <a:gd name="connsiteY3" fmla="*/ 0 h 369332"/>
              <a:gd name="connsiteX4" fmla="*/ 1561453 w 1561453"/>
              <a:gd name="connsiteY4" fmla="*/ 369332 h 369332"/>
              <a:gd name="connsiteX5" fmla="*/ 1072198 w 1561453"/>
              <a:gd name="connsiteY5" fmla="*/ 369332 h 369332"/>
              <a:gd name="connsiteX6" fmla="*/ 520484 w 1561453"/>
              <a:gd name="connsiteY6" fmla="*/ 369332 h 369332"/>
              <a:gd name="connsiteX7" fmla="*/ 0 w 1561453"/>
              <a:gd name="connsiteY7" fmla="*/ 369332 h 369332"/>
              <a:gd name="connsiteX8" fmla="*/ 0 w 156145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61453" h="369332" extrusionOk="0">
                <a:moveTo>
                  <a:pt x="0" y="0"/>
                </a:moveTo>
                <a:cubicBezTo>
                  <a:pt x="105663" y="-56601"/>
                  <a:pt x="378439" y="8803"/>
                  <a:pt x="504870" y="0"/>
                </a:cubicBezTo>
                <a:cubicBezTo>
                  <a:pt x="631301" y="-8803"/>
                  <a:pt x="811558" y="50166"/>
                  <a:pt x="978511" y="0"/>
                </a:cubicBezTo>
                <a:cubicBezTo>
                  <a:pt x="1145464" y="-50166"/>
                  <a:pt x="1404115" y="69437"/>
                  <a:pt x="1561453" y="0"/>
                </a:cubicBezTo>
                <a:cubicBezTo>
                  <a:pt x="1597041" y="113493"/>
                  <a:pt x="1534646" y="197069"/>
                  <a:pt x="1561453" y="369332"/>
                </a:cubicBezTo>
                <a:cubicBezTo>
                  <a:pt x="1417838" y="396110"/>
                  <a:pt x="1238872" y="339490"/>
                  <a:pt x="1072198" y="369332"/>
                </a:cubicBezTo>
                <a:cubicBezTo>
                  <a:pt x="905524" y="399174"/>
                  <a:pt x="665741" y="313066"/>
                  <a:pt x="520484" y="369332"/>
                </a:cubicBezTo>
                <a:cubicBezTo>
                  <a:pt x="375227" y="425598"/>
                  <a:pt x="144807" y="32152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F6FAF-26C9-D610-090B-D3C16FB0D072}"/>
              </a:ext>
            </a:extLst>
          </p:cNvPr>
          <p:cNvSpPr txBox="1"/>
          <p:nvPr/>
        </p:nvSpPr>
        <p:spPr>
          <a:xfrm>
            <a:off x="2527007" y="4038208"/>
            <a:ext cx="1646413" cy="369332"/>
          </a:xfrm>
          <a:custGeom>
            <a:avLst/>
            <a:gdLst>
              <a:gd name="connsiteX0" fmla="*/ 0 w 1646413"/>
              <a:gd name="connsiteY0" fmla="*/ 0 h 369332"/>
              <a:gd name="connsiteX1" fmla="*/ 532340 w 1646413"/>
              <a:gd name="connsiteY1" fmla="*/ 0 h 369332"/>
              <a:gd name="connsiteX2" fmla="*/ 1031752 w 1646413"/>
              <a:gd name="connsiteY2" fmla="*/ 0 h 369332"/>
              <a:gd name="connsiteX3" fmla="*/ 1646413 w 1646413"/>
              <a:gd name="connsiteY3" fmla="*/ 0 h 369332"/>
              <a:gd name="connsiteX4" fmla="*/ 1646413 w 1646413"/>
              <a:gd name="connsiteY4" fmla="*/ 369332 h 369332"/>
              <a:gd name="connsiteX5" fmla="*/ 1130537 w 1646413"/>
              <a:gd name="connsiteY5" fmla="*/ 369332 h 369332"/>
              <a:gd name="connsiteX6" fmla="*/ 548804 w 1646413"/>
              <a:gd name="connsiteY6" fmla="*/ 369332 h 369332"/>
              <a:gd name="connsiteX7" fmla="*/ 0 w 1646413"/>
              <a:gd name="connsiteY7" fmla="*/ 369332 h 369332"/>
              <a:gd name="connsiteX8" fmla="*/ 0 w 164641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46413" h="369332" extrusionOk="0">
                <a:moveTo>
                  <a:pt x="0" y="0"/>
                </a:moveTo>
                <a:cubicBezTo>
                  <a:pt x="255277" y="-35214"/>
                  <a:pt x="341683" y="41749"/>
                  <a:pt x="532340" y="0"/>
                </a:cubicBezTo>
                <a:cubicBezTo>
                  <a:pt x="722997" y="-41749"/>
                  <a:pt x="792835" y="26574"/>
                  <a:pt x="1031752" y="0"/>
                </a:cubicBezTo>
                <a:cubicBezTo>
                  <a:pt x="1270669" y="-26574"/>
                  <a:pt x="1355893" y="40199"/>
                  <a:pt x="1646413" y="0"/>
                </a:cubicBezTo>
                <a:cubicBezTo>
                  <a:pt x="1682001" y="113493"/>
                  <a:pt x="1619606" y="197069"/>
                  <a:pt x="1646413" y="369332"/>
                </a:cubicBezTo>
                <a:cubicBezTo>
                  <a:pt x="1424294" y="400777"/>
                  <a:pt x="1345325" y="345683"/>
                  <a:pt x="1130537" y="369332"/>
                </a:cubicBezTo>
                <a:cubicBezTo>
                  <a:pt x="915749" y="392981"/>
                  <a:pt x="676777" y="330864"/>
                  <a:pt x="548804" y="369332"/>
                </a:cubicBezTo>
                <a:cubicBezTo>
                  <a:pt x="420831" y="407800"/>
                  <a:pt x="205308" y="3616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BD15E5-87F3-CA6B-E40E-FB65A8529144}"/>
              </a:ext>
            </a:extLst>
          </p:cNvPr>
          <p:cNvSpPr txBox="1"/>
          <p:nvPr/>
        </p:nvSpPr>
        <p:spPr>
          <a:xfrm>
            <a:off x="739202" y="5776999"/>
            <a:ext cx="1386918" cy="369332"/>
          </a:xfrm>
          <a:custGeom>
            <a:avLst/>
            <a:gdLst>
              <a:gd name="connsiteX0" fmla="*/ 0 w 1386918"/>
              <a:gd name="connsiteY0" fmla="*/ 0 h 369332"/>
              <a:gd name="connsiteX1" fmla="*/ 448437 w 1386918"/>
              <a:gd name="connsiteY1" fmla="*/ 0 h 369332"/>
              <a:gd name="connsiteX2" fmla="*/ 869135 w 1386918"/>
              <a:gd name="connsiteY2" fmla="*/ 0 h 369332"/>
              <a:gd name="connsiteX3" fmla="*/ 1386918 w 1386918"/>
              <a:gd name="connsiteY3" fmla="*/ 0 h 369332"/>
              <a:gd name="connsiteX4" fmla="*/ 1386918 w 1386918"/>
              <a:gd name="connsiteY4" fmla="*/ 369332 h 369332"/>
              <a:gd name="connsiteX5" fmla="*/ 952350 w 1386918"/>
              <a:gd name="connsiteY5" fmla="*/ 369332 h 369332"/>
              <a:gd name="connsiteX6" fmla="*/ 462306 w 1386918"/>
              <a:gd name="connsiteY6" fmla="*/ 369332 h 369332"/>
              <a:gd name="connsiteX7" fmla="*/ 0 w 1386918"/>
              <a:gd name="connsiteY7" fmla="*/ 369332 h 369332"/>
              <a:gd name="connsiteX8" fmla="*/ 0 w 1386918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6918" h="369332" extrusionOk="0">
                <a:moveTo>
                  <a:pt x="0" y="0"/>
                </a:moveTo>
                <a:cubicBezTo>
                  <a:pt x="187637" y="-4289"/>
                  <a:pt x="283600" y="36605"/>
                  <a:pt x="448437" y="0"/>
                </a:cubicBezTo>
                <a:cubicBezTo>
                  <a:pt x="613274" y="-36605"/>
                  <a:pt x="700375" y="17888"/>
                  <a:pt x="869135" y="0"/>
                </a:cubicBezTo>
                <a:cubicBezTo>
                  <a:pt x="1037895" y="-17888"/>
                  <a:pt x="1163468" y="22981"/>
                  <a:pt x="1386918" y="0"/>
                </a:cubicBezTo>
                <a:cubicBezTo>
                  <a:pt x="1422506" y="113493"/>
                  <a:pt x="1360111" y="197069"/>
                  <a:pt x="1386918" y="369332"/>
                </a:cubicBezTo>
                <a:cubicBezTo>
                  <a:pt x="1233383" y="415922"/>
                  <a:pt x="1104230" y="321848"/>
                  <a:pt x="952350" y="369332"/>
                </a:cubicBezTo>
                <a:cubicBezTo>
                  <a:pt x="800470" y="416816"/>
                  <a:pt x="676393" y="335867"/>
                  <a:pt x="462306" y="369332"/>
                </a:cubicBezTo>
                <a:cubicBezTo>
                  <a:pt x="248219" y="402797"/>
                  <a:pt x="122592" y="333919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1FB57E80-A018-A0B1-4D5E-838F9781EBBB}"/>
              </a:ext>
            </a:extLst>
          </p:cNvPr>
          <p:cNvSpPr/>
          <p:nvPr/>
        </p:nvSpPr>
        <p:spPr>
          <a:xfrm>
            <a:off x="3358674" y="2850269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27627FF-FCD2-EA77-5398-CDC6E59D9C0A}"/>
              </a:ext>
            </a:extLst>
          </p:cNvPr>
          <p:cNvSpPr/>
          <p:nvPr/>
        </p:nvSpPr>
        <p:spPr>
          <a:xfrm>
            <a:off x="9600595" y="2866012"/>
            <a:ext cx="882285" cy="267739"/>
          </a:xfrm>
          <a:custGeom>
            <a:avLst/>
            <a:gdLst>
              <a:gd name="connsiteX0" fmla="*/ 0 w 882285"/>
              <a:gd name="connsiteY0" fmla="*/ 66935 h 267739"/>
              <a:gd name="connsiteX1" fmla="*/ 366724 w 882285"/>
              <a:gd name="connsiteY1" fmla="*/ 66935 h 267739"/>
              <a:gd name="connsiteX2" fmla="*/ 748416 w 882285"/>
              <a:gd name="connsiteY2" fmla="*/ 66935 h 267739"/>
              <a:gd name="connsiteX3" fmla="*/ 748416 w 882285"/>
              <a:gd name="connsiteY3" fmla="*/ 0 h 267739"/>
              <a:gd name="connsiteX4" fmla="*/ 882285 w 882285"/>
              <a:gd name="connsiteY4" fmla="*/ 133870 h 267739"/>
              <a:gd name="connsiteX5" fmla="*/ 748416 w 882285"/>
              <a:gd name="connsiteY5" fmla="*/ 267739 h 267739"/>
              <a:gd name="connsiteX6" fmla="*/ 748416 w 882285"/>
              <a:gd name="connsiteY6" fmla="*/ 200804 h 267739"/>
              <a:gd name="connsiteX7" fmla="*/ 389176 w 882285"/>
              <a:gd name="connsiteY7" fmla="*/ 200804 h 267739"/>
              <a:gd name="connsiteX8" fmla="*/ 0 w 882285"/>
              <a:gd name="connsiteY8" fmla="*/ 200804 h 267739"/>
              <a:gd name="connsiteX9" fmla="*/ 0 w 882285"/>
              <a:gd name="connsiteY9" fmla="*/ 66935 h 26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2285" h="267739" extrusionOk="0">
                <a:moveTo>
                  <a:pt x="0" y="66935"/>
                </a:moveTo>
                <a:cubicBezTo>
                  <a:pt x="105584" y="66583"/>
                  <a:pt x="271670" y="68505"/>
                  <a:pt x="366724" y="66935"/>
                </a:cubicBezTo>
                <a:cubicBezTo>
                  <a:pt x="461778" y="65365"/>
                  <a:pt x="562217" y="62688"/>
                  <a:pt x="748416" y="66935"/>
                </a:cubicBezTo>
                <a:cubicBezTo>
                  <a:pt x="748903" y="50486"/>
                  <a:pt x="745949" y="28541"/>
                  <a:pt x="748416" y="0"/>
                </a:cubicBezTo>
                <a:cubicBezTo>
                  <a:pt x="799410" y="58417"/>
                  <a:pt x="827958" y="70310"/>
                  <a:pt x="882285" y="133870"/>
                </a:cubicBezTo>
                <a:cubicBezTo>
                  <a:pt x="841114" y="175366"/>
                  <a:pt x="806982" y="207873"/>
                  <a:pt x="748416" y="267739"/>
                </a:cubicBezTo>
                <a:cubicBezTo>
                  <a:pt x="747199" y="241938"/>
                  <a:pt x="750124" y="227606"/>
                  <a:pt x="748416" y="200804"/>
                </a:cubicBezTo>
                <a:cubicBezTo>
                  <a:pt x="590299" y="183490"/>
                  <a:pt x="467139" y="184131"/>
                  <a:pt x="389176" y="200804"/>
                </a:cubicBezTo>
                <a:cubicBezTo>
                  <a:pt x="311213" y="217477"/>
                  <a:pt x="192231" y="202141"/>
                  <a:pt x="0" y="200804"/>
                </a:cubicBezTo>
                <a:cubicBezTo>
                  <a:pt x="-6026" y="162536"/>
                  <a:pt x="5236" y="102763"/>
                  <a:pt x="0" y="66935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B53F8E3-322F-0C5B-73FC-001E319C1888}"/>
              </a:ext>
            </a:extLst>
          </p:cNvPr>
          <p:cNvSpPr/>
          <p:nvPr/>
        </p:nvSpPr>
        <p:spPr>
          <a:xfrm>
            <a:off x="7712505" y="2896409"/>
            <a:ext cx="348132" cy="216575"/>
          </a:xfrm>
          <a:custGeom>
            <a:avLst/>
            <a:gdLst>
              <a:gd name="connsiteX0" fmla="*/ 0 w 348132"/>
              <a:gd name="connsiteY0" fmla="*/ 54144 h 216575"/>
              <a:gd name="connsiteX1" fmla="*/ 239845 w 348132"/>
              <a:gd name="connsiteY1" fmla="*/ 54144 h 216575"/>
              <a:gd name="connsiteX2" fmla="*/ 239845 w 348132"/>
              <a:gd name="connsiteY2" fmla="*/ 0 h 216575"/>
              <a:gd name="connsiteX3" fmla="*/ 348132 w 348132"/>
              <a:gd name="connsiteY3" fmla="*/ 108288 h 216575"/>
              <a:gd name="connsiteX4" fmla="*/ 239845 w 348132"/>
              <a:gd name="connsiteY4" fmla="*/ 216575 h 216575"/>
              <a:gd name="connsiteX5" fmla="*/ 239845 w 348132"/>
              <a:gd name="connsiteY5" fmla="*/ 162431 h 216575"/>
              <a:gd name="connsiteX6" fmla="*/ 0 w 348132"/>
              <a:gd name="connsiteY6" fmla="*/ 162431 h 216575"/>
              <a:gd name="connsiteX7" fmla="*/ 0 w 348132"/>
              <a:gd name="connsiteY7" fmla="*/ 54144 h 216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132" h="216575" extrusionOk="0">
                <a:moveTo>
                  <a:pt x="0" y="54144"/>
                </a:moveTo>
                <a:cubicBezTo>
                  <a:pt x="105584" y="51053"/>
                  <a:pt x="137275" y="55119"/>
                  <a:pt x="239845" y="54144"/>
                </a:cubicBezTo>
                <a:cubicBezTo>
                  <a:pt x="242104" y="34405"/>
                  <a:pt x="242099" y="13583"/>
                  <a:pt x="239845" y="0"/>
                </a:cubicBezTo>
                <a:cubicBezTo>
                  <a:pt x="287711" y="52099"/>
                  <a:pt x="314388" y="77475"/>
                  <a:pt x="348132" y="108288"/>
                </a:cubicBezTo>
                <a:cubicBezTo>
                  <a:pt x="308244" y="146567"/>
                  <a:pt x="274671" y="184508"/>
                  <a:pt x="239845" y="216575"/>
                </a:cubicBezTo>
                <a:cubicBezTo>
                  <a:pt x="237942" y="198448"/>
                  <a:pt x="239280" y="179664"/>
                  <a:pt x="239845" y="162431"/>
                </a:cubicBezTo>
                <a:cubicBezTo>
                  <a:pt x="152833" y="154719"/>
                  <a:pt x="105099" y="164165"/>
                  <a:pt x="0" y="162431"/>
                </a:cubicBezTo>
                <a:cubicBezTo>
                  <a:pt x="-2135" y="139021"/>
                  <a:pt x="4951" y="105636"/>
                  <a:pt x="0" y="5414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7CD934-19F0-6A91-9692-A2D7011B2F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7905" y="2601504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D31AA386-E52B-7087-393C-16DFFA33AE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776" y="2594702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D0940E11-7969-9E29-7FC5-7CFCAFDE6B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780" y="2594702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B2BA1AD0-69A3-3359-D688-02ADEB61FE4B}"/>
              </a:ext>
            </a:extLst>
          </p:cNvPr>
          <p:cNvSpPr/>
          <p:nvPr/>
        </p:nvSpPr>
        <p:spPr>
          <a:xfrm rot="18628755">
            <a:off x="5923767" y="2309036"/>
            <a:ext cx="579282" cy="260454"/>
          </a:xfrm>
          <a:custGeom>
            <a:avLst/>
            <a:gdLst>
              <a:gd name="connsiteX0" fmla="*/ 0 w 579282"/>
              <a:gd name="connsiteY0" fmla="*/ 65114 h 260454"/>
              <a:gd name="connsiteX1" fmla="*/ 449055 w 579282"/>
              <a:gd name="connsiteY1" fmla="*/ 65114 h 260454"/>
              <a:gd name="connsiteX2" fmla="*/ 449055 w 579282"/>
              <a:gd name="connsiteY2" fmla="*/ 0 h 260454"/>
              <a:gd name="connsiteX3" fmla="*/ 579282 w 579282"/>
              <a:gd name="connsiteY3" fmla="*/ 130227 h 260454"/>
              <a:gd name="connsiteX4" fmla="*/ 449055 w 579282"/>
              <a:gd name="connsiteY4" fmla="*/ 260454 h 260454"/>
              <a:gd name="connsiteX5" fmla="*/ 449055 w 579282"/>
              <a:gd name="connsiteY5" fmla="*/ 195341 h 260454"/>
              <a:gd name="connsiteX6" fmla="*/ 0 w 579282"/>
              <a:gd name="connsiteY6" fmla="*/ 195341 h 260454"/>
              <a:gd name="connsiteX7" fmla="*/ 0 w 579282"/>
              <a:gd name="connsiteY7" fmla="*/ 65114 h 26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9282" h="260454" extrusionOk="0">
                <a:moveTo>
                  <a:pt x="0" y="65114"/>
                </a:moveTo>
                <a:cubicBezTo>
                  <a:pt x="219689" y="83922"/>
                  <a:pt x="343930" y="68334"/>
                  <a:pt x="449055" y="65114"/>
                </a:cubicBezTo>
                <a:cubicBezTo>
                  <a:pt x="446983" y="50603"/>
                  <a:pt x="448264" y="19193"/>
                  <a:pt x="449055" y="0"/>
                </a:cubicBezTo>
                <a:cubicBezTo>
                  <a:pt x="499266" y="56448"/>
                  <a:pt x="532927" y="83474"/>
                  <a:pt x="579282" y="130227"/>
                </a:cubicBezTo>
                <a:cubicBezTo>
                  <a:pt x="543622" y="170670"/>
                  <a:pt x="478526" y="232534"/>
                  <a:pt x="449055" y="260454"/>
                </a:cubicBezTo>
                <a:cubicBezTo>
                  <a:pt x="451786" y="247325"/>
                  <a:pt x="445967" y="218843"/>
                  <a:pt x="449055" y="195341"/>
                </a:cubicBezTo>
                <a:cubicBezTo>
                  <a:pt x="252022" y="178871"/>
                  <a:pt x="164957" y="178540"/>
                  <a:pt x="0" y="195341"/>
                </a:cubicBezTo>
                <a:cubicBezTo>
                  <a:pt x="3888" y="163988"/>
                  <a:pt x="-1958" y="125989"/>
                  <a:pt x="0" y="6511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BBEF615D-2534-445B-8F63-7458A6D90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170" y="1595512"/>
            <a:ext cx="806756" cy="80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Right 30">
            <a:extLst>
              <a:ext uri="{FF2B5EF4-FFF2-40B4-BE49-F238E27FC236}">
                <a16:creationId xmlns:a16="http://schemas.microsoft.com/office/drawing/2014/main" id="{5C6BF4CF-966C-8372-1F93-B78C30952665}"/>
              </a:ext>
            </a:extLst>
          </p:cNvPr>
          <p:cNvSpPr/>
          <p:nvPr/>
        </p:nvSpPr>
        <p:spPr>
          <a:xfrm rot="3091230">
            <a:off x="6745868" y="2315268"/>
            <a:ext cx="579282" cy="260454"/>
          </a:xfrm>
          <a:custGeom>
            <a:avLst/>
            <a:gdLst>
              <a:gd name="connsiteX0" fmla="*/ 0 w 579282"/>
              <a:gd name="connsiteY0" fmla="*/ 65114 h 260454"/>
              <a:gd name="connsiteX1" fmla="*/ 449055 w 579282"/>
              <a:gd name="connsiteY1" fmla="*/ 65114 h 260454"/>
              <a:gd name="connsiteX2" fmla="*/ 449055 w 579282"/>
              <a:gd name="connsiteY2" fmla="*/ 0 h 260454"/>
              <a:gd name="connsiteX3" fmla="*/ 579282 w 579282"/>
              <a:gd name="connsiteY3" fmla="*/ 130227 h 260454"/>
              <a:gd name="connsiteX4" fmla="*/ 449055 w 579282"/>
              <a:gd name="connsiteY4" fmla="*/ 260454 h 260454"/>
              <a:gd name="connsiteX5" fmla="*/ 449055 w 579282"/>
              <a:gd name="connsiteY5" fmla="*/ 195341 h 260454"/>
              <a:gd name="connsiteX6" fmla="*/ 0 w 579282"/>
              <a:gd name="connsiteY6" fmla="*/ 195341 h 260454"/>
              <a:gd name="connsiteX7" fmla="*/ 0 w 579282"/>
              <a:gd name="connsiteY7" fmla="*/ 65114 h 26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9282" h="260454" extrusionOk="0">
                <a:moveTo>
                  <a:pt x="0" y="65114"/>
                </a:moveTo>
                <a:cubicBezTo>
                  <a:pt x="219689" y="83922"/>
                  <a:pt x="343930" y="68334"/>
                  <a:pt x="449055" y="65114"/>
                </a:cubicBezTo>
                <a:cubicBezTo>
                  <a:pt x="446983" y="50603"/>
                  <a:pt x="448264" y="19193"/>
                  <a:pt x="449055" y="0"/>
                </a:cubicBezTo>
                <a:cubicBezTo>
                  <a:pt x="499266" y="56448"/>
                  <a:pt x="532927" y="83474"/>
                  <a:pt x="579282" y="130227"/>
                </a:cubicBezTo>
                <a:cubicBezTo>
                  <a:pt x="543622" y="170670"/>
                  <a:pt x="478526" y="232534"/>
                  <a:pt x="449055" y="260454"/>
                </a:cubicBezTo>
                <a:cubicBezTo>
                  <a:pt x="451786" y="247325"/>
                  <a:pt x="445967" y="218843"/>
                  <a:pt x="449055" y="195341"/>
                </a:cubicBezTo>
                <a:cubicBezTo>
                  <a:pt x="252022" y="178871"/>
                  <a:pt x="164957" y="178540"/>
                  <a:pt x="0" y="195341"/>
                </a:cubicBezTo>
                <a:cubicBezTo>
                  <a:pt x="3888" y="163988"/>
                  <a:pt x="-1958" y="125989"/>
                  <a:pt x="0" y="6511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0411676-1729-5586-D497-F3C3BB0908BF}"/>
              </a:ext>
            </a:extLst>
          </p:cNvPr>
          <p:cNvSpPr txBox="1"/>
          <p:nvPr/>
        </p:nvSpPr>
        <p:spPr>
          <a:xfrm>
            <a:off x="6987172" y="1814224"/>
            <a:ext cx="1440715" cy="369332"/>
          </a:xfrm>
          <a:custGeom>
            <a:avLst/>
            <a:gdLst>
              <a:gd name="connsiteX0" fmla="*/ 0 w 1440715"/>
              <a:gd name="connsiteY0" fmla="*/ 0 h 369332"/>
              <a:gd name="connsiteX1" fmla="*/ 465831 w 1440715"/>
              <a:gd name="connsiteY1" fmla="*/ 0 h 369332"/>
              <a:gd name="connsiteX2" fmla="*/ 902848 w 1440715"/>
              <a:gd name="connsiteY2" fmla="*/ 0 h 369332"/>
              <a:gd name="connsiteX3" fmla="*/ 1440715 w 1440715"/>
              <a:gd name="connsiteY3" fmla="*/ 0 h 369332"/>
              <a:gd name="connsiteX4" fmla="*/ 1440715 w 1440715"/>
              <a:gd name="connsiteY4" fmla="*/ 369332 h 369332"/>
              <a:gd name="connsiteX5" fmla="*/ 989291 w 1440715"/>
              <a:gd name="connsiteY5" fmla="*/ 369332 h 369332"/>
              <a:gd name="connsiteX6" fmla="*/ 480238 w 1440715"/>
              <a:gd name="connsiteY6" fmla="*/ 369332 h 369332"/>
              <a:gd name="connsiteX7" fmla="*/ 0 w 1440715"/>
              <a:gd name="connsiteY7" fmla="*/ 369332 h 369332"/>
              <a:gd name="connsiteX8" fmla="*/ 0 w 144071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0715" h="369332" extrusionOk="0">
                <a:moveTo>
                  <a:pt x="0" y="0"/>
                </a:moveTo>
                <a:cubicBezTo>
                  <a:pt x="151133" y="-13805"/>
                  <a:pt x="270454" y="9665"/>
                  <a:pt x="465831" y="0"/>
                </a:cubicBezTo>
                <a:cubicBezTo>
                  <a:pt x="661208" y="-9665"/>
                  <a:pt x="723557" y="41844"/>
                  <a:pt x="902848" y="0"/>
                </a:cubicBezTo>
                <a:cubicBezTo>
                  <a:pt x="1082139" y="-41844"/>
                  <a:pt x="1215787" y="8461"/>
                  <a:pt x="1440715" y="0"/>
                </a:cubicBezTo>
                <a:cubicBezTo>
                  <a:pt x="1476303" y="113493"/>
                  <a:pt x="1413908" y="197069"/>
                  <a:pt x="1440715" y="369332"/>
                </a:cubicBezTo>
                <a:cubicBezTo>
                  <a:pt x="1292099" y="399259"/>
                  <a:pt x="1211211" y="346730"/>
                  <a:pt x="989291" y="369332"/>
                </a:cubicBezTo>
                <a:cubicBezTo>
                  <a:pt x="767371" y="391934"/>
                  <a:pt x="723872" y="316504"/>
                  <a:pt x="480238" y="369332"/>
                </a:cubicBezTo>
                <a:cubicBezTo>
                  <a:pt x="236604" y="422160"/>
                  <a:pt x="132567" y="319065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R workflow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BA51D45-08DA-A647-CEE8-9DB79872E098}"/>
              </a:ext>
            </a:extLst>
          </p:cNvPr>
          <p:cNvSpPr txBox="1"/>
          <p:nvPr/>
        </p:nvSpPr>
        <p:spPr>
          <a:xfrm>
            <a:off x="4704250" y="3402672"/>
            <a:ext cx="470735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hange management as a code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Good change history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oes not require strict User RBAC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I Pipelines can validate a lot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Environment consistency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benefits from DevOps practice…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cale can be hard in siloed organizations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Very hard to integrate with other systems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cons as it is another abstraction lay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4107A7B-4659-3DA1-E6C3-2CD4A298AB78}"/>
              </a:ext>
            </a:extLst>
          </p:cNvPr>
          <p:cNvSpPr txBox="1"/>
          <p:nvPr/>
        </p:nvSpPr>
        <p:spPr>
          <a:xfrm>
            <a:off x="2527007" y="5721446"/>
            <a:ext cx="1652312" cy="369332"/>
          </a:xfrm>
          <a:custGeom>
            <a:avLst/>
            <a:gdLst>
              <a:gd name="connsiteX0" fmla="*/ 0 w 1652312"/>
              <a:gd name="connsiteY0" fmla="*/ 0 h 369332"/>
              <a:gd name="connsiteX1" fmla="*/ 534248 w 1652312"/>
              <a:gd name="connsiteY1" fmla="*/ 0 h 369332"/>
              <a:gd name="connsiteX2" fmla="*/ 1035449 w 1652312"/>
              <a:gd name="connsiteY2" fmla="*/ 0 h 369332"/>
              <a:gd name="connsiteX3" fmla="*/ 1652312 w 1652312"/>
              <a:gd name="connsiteY3" fmla="*/ 0 h 369332"/>
              <a:gd name="connsiteX4" fmla="*/ 1652312 w 1652312"/>
              <a:gd name="connsiteY4" fmla="*/ 369332 h 369332"/>
              <a:gd name="connsiteX5" fmla="*/ 1134588 w 1652312"/>
              <a:gd name="connsiteY5" fmla="*/ 369332 h 369332"/>
              <a:gd name="connsiteX6" fmla="*/ 550771 w 1652312"/>
              <a:gd name="connsiteY6" fmla="*/ 369332 h 369332"/>
              <a:gd name="connsiteX7" fmla="*/ 0 w 1652312"/>
              <a:gd name="connsiteY7" fmla="*/ 369332 h 369332"/>
              <a:gd name="connsiteX8" fmla="*/ 0 w 165231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312" h="369332" extrusionOk="0">
                <a:moveTo>
                  <a:pt x="0" y="0"/>
                </a:moveTo>
                <a:cubicBezTo>
                  <a:pt x="111506" y="-14757"/>
                  <a:pt x="312422" y="35711"/>
                  <a:pt x="534248" y="0"/>
                </a:cubicBezTo>
                <a:cubicBezTo>
                  <a:pt x="756074" y="-35711"/>
                  <a:pt x="907398" y="21459"/>
                  <a:pt x="1035449" y="0"/>
                </a:cubicBezTo>
                <a:cubicBezTo>
                  <a:pt x="1163500" y="-21459"/>
                  <a:pt x="1428848" y="17889"/>
                  <a:pt x="1652312" y="0"/>
                </a:cubicBezTo>
                <a:cubicBezTo>
                  <a:pt x="1687900" y="113493"/>
                  <a:pt x="1625505" y="197069"/>
                  <a:pt x="1652312" y="369332"/>
                </a:cubicBezTo>
                <a:cubicBezTo>
                  <a:pt x="1474792" y="394933"/>
                  <a:pt x="1275693" y="319503"/>
                  <a:pt x="1134588" y="369332"/>
                </a:cubicBezTo>
                <a:cubicBezTo>
                  <a:pt x="993483" y="419161"/>
                  <a:pt x="737018" y="333735"/>
                  <a:pt x="550771" y="369332"/>
                </a:cubicBezTo>
                <a:cubicBezTo>
                  <a:pt x="364524" y="404929"/>
                  <a:pt x="174422" y="35167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9232FF8-BD3D-03FB-DA98-1293724DE60F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0" name="Rectángulo redondeado 14">
              <a:extLst>
                <a:ext uri="{FF2B5EF4-FFF2-40B4-BE49-F238E27FC236}">
                  <a16:creationId xmlns:a16="http://schemas.microsoft.com/office/drawing/2014/main" id="{FB7AF08C-23E8-5486-3CF1-FBF7C41DBF26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Rectángulo 12">
              <a:extLst>
                <a:ext uri="{FF2B5EF4-FFF2-40B4-BE49-F238E27FC236}">
                  <a16:creationId xmlns:a16="http://schemas.microsoft.com/office/drawing/2014/main" id="{D41E5802-FABE-86B2-6484-D83FB95A2715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using </a:t>
              </a:r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GitOps</a:t>
              </a:r>
              <a:endPara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4183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o can live with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6529" y="2151874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458" y="2585597"/>
            <a:ext cx="1064041" cy="94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667673" y="1690689"/>
            <a:ext cx="4707353" cy="4802186"/>
          </a:xfrm>
          <a:custGeom>
            <a:avLst/>
            <a:gdLst>
              <a:gd name="connsiteX0" fmla="*/ 0 w 4707353"/>
              <a:gd name="connsiteY0" fmla="*/ 784575 h 4802186"/>
              <a:gd name="connsiteX1" fmla="*/ 784575 w 4707353"/>
              <a:gd name="connsiteY1" fmla="*/ 0 h 4802186"/>
              <a:gd name="connsiteX2" fmla="*/ 1370373 w 4707353"/>
              <a:gd name="connsiteY2" fmla="*/ 0 h 4802186"/>
              <a:gd name="connsiteX3" fmla="*/ 1862025 w 4707353"/>
              <a:gd name="connsiteY3" fmla="*/ 0 h 4802186"/>
              <a:gd name="connsiteX4" fmla="*/ 2322294 w 4707353"/>
              <a:gd name="connsiteY4" fmla="*/ 0 h 4802186"/>
              <a:gd name="connsiteX5" fmla="*/ 2876710 w 4707353"/>
              <a:gd name="connsiteY5" fmla="*/ 0 h 4802186"/>
              <a:gd name="connsiteX6" fmla="*/ 3368362 w 4707353"/>
              <a:gd name="connsiteY6" fmla="*/ 0 h 4802186"/>
              <a:gd name="connsiteX7" fmla="*/ 3922778 w 4707353"/>
              <a:gd name="connsiteY7" fmla="*/ 0 h 4802186"/>
              <a:gd name="connsiteX8" fmla="*/ 4707353 w 4707353"/>
              <a:gd name="connsiteY8" fmla="*/ 784575 h 4802186"/>
              <a:gd name="connsiteX9" fmla="*/ 4707353 w 4707353"/>
              <a:gd name="connsiteY9" fmla="*/ 1258754 h 4802186"/>
              <a:gd name="connsiteX10" fmla="*/ 4707353 w 4707353"/>
              <a:gd name="connsiteY10" fmla="*/ 1797593 h 4802186"/>
              <a:gd name="connsiteX11" fmla="*/ 4707353 w 4707353"/>
              <a:gd name="connsiteY11" fmla="*/ 2336432 h 4802186"/>
              <a:gd name="connsiteX12" fmla="*/ 4707353 w 4707353"/>
              <a:gd name="connsiteY12" fmla="*/ 2842941 h 4802186"/>
              <a:gd name="connsiteX13" fmla="*/ 4707353 w 4707353"/>
              <a:gd name="connsiteY13" fmla="*/ 3446441 h 4802186"/>
              <a:gd name="connsiteX14" fmla="*/ 4707353 w 4707353"/>
              <a:gd name="connsiteY14" fmla="*/ 4017611 h 4802186"/>
              <a:gd name="connsiteX15" fmla="*/ 3922778 w 4707353"/>
              <a:gd name="connsiteY15" fmla="*/ 4802186 h 4802186"/>
              <a:gd name="connsiteX16" fmla="*/ 3368362 w 4707353"/>
              <a:gd name="connsiteY16" fmla="*/ 4802186 h 4802186"/>
              <a:gd name="connsiteX17" fmla="*/ 2845328 w 4707353"/>
              <a:gd name="connsiteY17" fmla="*/ 4802186 h 4802186"/>
              <a:gd name="connsiteX18" fmla="*/ 2416441 w 4707353"/>
              <a:gd name="connsiteY18" fmla="*/ 4802186 h 4802186"/>
              <a:gd name="connsiteX19" fmla="*/ 1956171 w 4707353"/>
              <a:gd name="connsiteY19" fmla="*/ 4802186 h 4802186"/>
              <a:gd name="connsiteX20" fmla="*/ 1370373 w 4707353"/>
              <a:gd name="connsiteY20" fmla="*/ 4802186 h 4802186"/>
              <a:gd name="connsiteX21" fmla="*/ 784575 w 4707353"/>
              <a:gd name="connsiteY21" fmla="*/ 4802186 h 4802186"/>
              <a:gd name="connsiteX22" fmla="*/ 0 w 4707353"/>
              <a:gd name="connsiteY22" fmla="*/ 4017611 h 4802186"/>
              <a:gd name="connsiteX23" fmla="*/ 0 w 4707353"/>
              <a:gd name="connsiteY23" fmla="*/ 3446441 h 4802186"/>
              <a:gd name="connsiteX24" fmla="*/ 0 w 4707353"/>
              <a:gd name="connsiteY24" fmla="*/ 3004593 h 4802186"/>
              <a:gd name="connsiteX25" fmla="*/ 0 w 4707353"/>
              <a:gd name="connsiteY25" fmla="*/ 2465754 h 4802186"/>
              <a:gd name="connsiteX26" fmla="*/ 0 w 4707353"/>
              <a:gd name="connsiteY26" fmla="*/ 1991575 h 4802186"/>
              <a:gd name="connsiteX27" fmla="*/ 0 w 4707353"/>
              <a:gd name="connsiteY27" fmla="*/ 1420405 h 4802186"/>
              <a:gd name="connsiteX28" fmla="*/ 0 w 4707353"/>
              <a:gd name="connsiteY28" fmla="*/ 784575 h 4802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07353" h="4802186" extrusionOk="0">
                <a:moveTo>
                  <a:pt x="0" y="784575"/>
                </a:moveTo>
                <a:cubicBezTo>
                  <a:pt x="-49440" y="320770"/>
                  <a:pt x="256563" y="35544"/>
                  <a:pt x="784575" y="0"/>
                </a:cubicBezTo>
                <a:cubicBezTo>
                  <a:pt x="1010919" y="-53889"/>
                  <a:pt x="1099269" y="27415"/>
                  <a:pt x="1370373" y="0"/>
                </a:cubicBezTo>
                <a:cubicBezTo>
                  <a:pt x="1641477" y="-27415"/>
                  <a:pt x="1647378" y="34760"/>
                  <a:pt x="1862025" y="0"/>
                </a:cubicBezTo>
                <a:cubicBezTo>
                  <a:pt x="2076672" y="-34760"/>
                  <a:pt x="2149682" y="11053"/>
                  <a:pt x="2322294" y="0"/>
                </a:cubicBezTo>
                <a:cubicBezTo>
                  <a:pt x="2494906" y="-11053"/>
                  <a:pt x="2747524" y="7796"/>
                  <a:pt x="2876710" y="0"/>
                </a:cubicBezTo>
                <a:cubicBezTo>
                  <a:pt x="3005896" y="-7796"/>
                  <a:pt x="3165210" y="5090"/>
                  <a:pt x="3368362" y="0"/>
                </a:cubicBezTo>
                <a:cubicBezTo>
                  <a:pt x="3571514" y="-5090"/>
                  <a:pt x="3772601" y="27291"/>
                  <a:pt x="3922778" y="0"/>
                </a:cubicBezTo>
                <a:cubicBezTo>
                  <a:pt x="4353841" y="-21415"/>
                  <a:pt x="4683867" y="383905"/>
                  <a:pt x="4707353" y="784575"/>
                </a:cubicBezTo>
                <a:cubicBezTo>
                  <a:pt x="4719951" y="929013"/>
                  <a:pt x="4662880" y="1073062"/>
                  <a:pt x="4707353" y="1258754"/>
                </a:cubicBezTo>
                <a:cubicBezTo>
                  <a:pt x="4751826" y="1444446"/>
                  <a:pt x="4656214" y="1664078"/>
                  <a:pt x="4707353" y="1797593"/>
                </a:cubicBezTo>
                <a:cubicBezTo>
                  <a:pt x="4758492" y="1931108"/>
                  <a:pt x="4694629" y="2226654"/>
                  <a:pt x="4707353" y="2336432"/>
                </a:cubicBezTo>
                <a:cubicBezTo>
                  <a:pt x="4720077" y="2446210"/>
                  <a:pt x="4664614" y="2717154"/>
                  <a:pt x="4707353" y="2842941"/>
                </a:cubicBezTo>
                <a:cubicBezTo>
                  <a:pt x="4750092" y="2968728"/>
                  <a:pt x="4653669" y="3186124"/>
                  <a:pt x="4707353" y="3446441"/>
                </a:cubicBezTo>
                <a:cubicBezTo>
                  <a:pt x="4761037" y="3706758"/>
                  <a:pt x="4706476" y="3795061"/>
                  <a:pt x="4707353" y="4017611"/>
                </a:cubicBezTo>
                <a:cubicBezTo>
                  <a:pt x="4686143" y="4454403"/>
                  <a:pt x="4326665" y="4781885"/>
                  <a:pt x="3922778" y="4802186"/>
                </a:cubicBezTo>
                <a:cubicBezTo>
                  <a:pt x="3774676" y="4838256"/>
                  <a:pt x="3631580" y="4777626"/>
                  <a:pt x="3368362" y="4802186"/>
                </a:cubicBezTo>
                <a:cubicBezTo>
                  <a:pt x="3105144" y="4826746"/>
                  <a:pt x="3027815" y="4742259"/>
                  <a:pt x="2845328" y="4802186"/>
                </a:cubicBezTo>
                <a:cubicBezTo>
                  <a:pt x="2662841" y="4862113"/>
                  <a:pt x="2606078" y="4783839"/>
                  <a:pt x="2416441" y="4802186"/>
                </a:cubicBezTo>
                <a:cubicBezTo>
                  <a:pt x="2226804" y="4820533"/>
                  <a:pt x="2126049" y="4761204"/>
                  <a:pt x="1956171" y="4802186"/>
                </a:cubicBezTo>
                <a:cubicBezTo>
                  <a:pt x="1786293" y="4843168"/>
                  <a:pt x="1490676" y="4759271"/>
                  <a:pt x="1370373" y="4802186"/>
                </a:cubicBezTo>
                <a:cubicBezTo>
                  <a:pt x="1250070" y="4845101"/>
                  <a:pt x="990738" y="4758016"/>
                  <a:pt x="784575" y="4802186"/>
                </a:cubicBezTo>
                <a:cubicBezTo>
                  <a:pt x="365936" y="4831233"/>
                  <a:pt x="-89864" y="4498309"/>
                  <a:pt x="0" y="4017611"/>
                </a:cubicBezTo>
                <a:cubicBezTo>
                  <a:pt x="-42724" y="3896007"/>
                  <a:pt x="56" y="3717071"/>
                  <a:pt x="0" y="3446441"/>
                </a:cubicBezTo>
                <a:cubicBezTo>
                  <a:pt x="-56" y="3175811"/>
                  <a:pt x="34692" y="3143704"/>
                  <a:pt x="0" y="3004593"/>
                </a:cubicBezTo>
                <a:cubicBezTo>
                  <a:pt x="-34692" y="2865482"/>
                  <a:pt x="49210" y="2588393"/>
                  <a:pt x="0" y="2465754"/>
                </a:cubicBezTo>
                <a:cubicBezTo>
                  <a:pt x="-49210" y="2343115"/>
                  <a:pt x="16819" y="2212889"/>
                  <a:pt x="0" y="1991575"/>
                </a:cubicBezTo>
                <a:cubicBezTo>
                  <a:pt x="-16819" y="1770261"/>
                  <a:pt x="40972" y="1562802"/>
                  <a:pt x="0" y="1420405"/>
                </a:cubicBezTo>
                <a:cubicBezTo>
                  <a:pt x="-40972" y="1278008"/>
                  <a:pt x="61624" y="1043984"/>
                  <a:pt x="0" y="784575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07D54-217A-EB96-4306-79BC832CA630}"/>
              </a:ext>
            </a:extLst>
          </p:cNvPr>
          <p:cNvGrpSpPr/>
          <p:nvPr/>
        </p:nvGrpSpPr>
        <p:grpSpPr>
          <a:xfrm>
            <a:off x="7987602" y="2510473"/>
            <a:ext cx="1158800" cy="1098301"/>
            <a:chOff x="3591201" y="2800773"/>
            <a:chExt cx="887513" cy="946980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94EB215-3E96-1CF3-633E-BA52ED360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77503CE5-0331-8B70-1B9C-DCDB25645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B6293F53-00FC-1E2A-243F-3F24254568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2D573-A12D-A313-D630-7C1973588AA2}"/>
              </a:ext>
            </a:extLst>
          </p:cNvPr>
          <p:cNvGrpSpPr/>
          <p:nvPr/>
        </p:nvGrpSpPr>
        <p:grpSpPr>
          <a:xfrm>
            <a:off x="1883950" y="2364677"/>
            <a:ext cx="1291179" cy="1287835"/>
            <a:chOff x="3409768" y="2600757"/>
            <a:chExt cx="1571305" cy="156027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3BC9F0-D6D5-334D-C2C1-C7A80617C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FD495CD4-4BC7-9EFE-1699-A28CC014D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47EE736-55EF-8CF0-4A6E-92C43B6A57DB}"/>
              </a:ext>
            </a:extLst>
          </p:cNvPr>
          <p:cNvSpPr/>
          <p:nvPr/>
        </p:nvSpPr>
        <p:spPr>
          <a:xfrm>
            <a:off x="564242" y="4496905"/>
            <a:ext cx="3907982" cy="1973671"/>
          </a:xfrm>
          <a:custGeom>
            <a:avLst/>
            <a:gdLst>
              <a:gd name="connsiteX0" fmla="*/ 0 w 3907982"/>
              <a:gd name="connsiteY0" fmla="*/ 328952 h 1973671"/>
              <a:gd name="connsiteX1" fmla="*/ 328952 w 3907982"/>
              <a:gd name="connsiteY1" fmla="*/ 0 h 1973671"/>
              <a:gd name="connsiteX2" fmla="*/ 870632 w 3907982"/>
              <a:gd name="connsiteY2" fmla="*/ 0 h 1973671"/>
              <a:gd name="connsiteX3" fmla="*/ 1347310 w 3907982"/>
              <a:gd name="connsiteY3" fmla="*/ 0 h 1973671"/>
              <a:gd name="connsiteX4" fmla="*/ 1921490 w 3907982"/>
              <a:gd name="connsiteY4" fmla="*/ 0 h 1973671"/>
              <a:gd name="connsiteX5" fmla="*/ 2398168 w 3907982"/>
              <a:gd name="connsiteY5" fmla="*/ 0 h 1973671"/>
              <a:gd name="connsiteX6" fmla="*/ 2972349 w 3907982"/>
              <a:gd name="connsiteY6" fmla="*/ 0 h 1973671"/>
              <a:gd name="connsiteX7" fmla="*/ 3579030 w 3907982"/>
              <a:gd name="connsiteY7" fmla="*/ 0 h 1973671"/>
              <a:gd name="connsiteX8" fmla="*/ 3907982 w 3907982"/>
              <a:gd name="connsiteY8" fmla="*/ 328952 h 1973671"/>
              <a:gd name="connsiteX9" fmla="*/ 3907982 w 3907982"/>
              <a:gd name="connsiteY9" fmla="*/ 754383 h 1973671"/>
              <a:gd name="connsiteX10" fmla="*/ 3907982 w 3907982"/>
              <a:gd name="connsiteY10" fmla="*/ 1166657 h 1973671"/>
              <a:gd name="connsiteX11" fmla="*/ 3907982 w 3907982"/>
              <a:gd name="connsiteY11" fmla="*/ 1644719 h 1973671"/>
              <a:gd name="connsiteX12" fmla="*/ 3579030 w 3907982"/>
              <a:gd name="connsiteY12" fmla="*/ 1973671 h 1973671"/>
              <a:gd name="connsiteX13" fmla="*/ 3102352 w 3907982"/>
              <a:gd name="connsiteY13" fmla="*/ 1973671 h 1973671"/>
              <a:gd name="connsiteX14" fmla="*/ 2593173 w 3907982"/>
              <a:gd name="connsiteY14" fmla="*/ 1973671 h 1973671"/>
              <a:gd name="connsiteX15" fmla="*/ 2051493 w 3907982"/>
              <a:gd name="connsiteY15" fmla="*/ 1973671 h 1973671"/>
              <a:gd name="connsiteX16" fmla="*/ 1574815 w 3907982"/>
              <a:gd name="connsiteY16" fmla="*/ 1973671 h 1973671"/>
              <a:gd name="connsiteX17" fmla="*/ 968134 w 3907982"/>
              <a:gd name="connsiteY17" fmla="*/ 1973671 h 1973671"/>
              <a:gd name="connsiteX18" fmla="*/ 328952 w 3907982"/>
              <a:gd name="connsiteY18" fmla="*/ 1973671 h 1973671"/>
              <a:gd name="connsiteX19" fmla="*/ 0 w 3907982"/>
              <a:gd name="connsiteY19" fmla="*/ 1644719 h 1973671"/>
              <a:gd name="connsiteX20" fmla="*/ 0 w 3907982"/>
              <a:gd name="connsiteY20" fmla="*/ 1206130 h 1973671"/>
              <a:gd name="connsiteX21" fmla="*/ 0 w 3907982"/>
              <a:gd name="connsiteY21" fmla="*/ 754383 h 1973671"/>
              <a:gd name="connsiteX22" fmla="*/ 0 w 3907982"/>
              <a:gd name="connsiteY22" fmla="*/ 328952 h 197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73671" fill="none" extrusionOk="0">
                <a:moveTo>
                  <a:pt x="0" y="328952"/>
                </a:moveTo>
                <a:cubicBezTo>
                  <a:pt x="-20651" y="146108"/>
                  <a:pt x="167917" y="17770"/>
                  <a:pt x="328952" y="0"/>
                </a:cubicBezTo>
                <a:cubicBezTo>
                  <a:pt x="460823" y="-3407"/>
                  <a:pt x="745429" y="6986"/>
                  <a:pt x="870632" y="0"/>
                </a:cubicBezTo>
                <a:cubicBezTo>
                  <a:pt x="995835" y="-6986"/>
                  <a:pt x="1209204" y="5094"/>
                  <a:pt x="1347310" y="0"/>
                </a:cubicBezTo>
                <a:cubicBezTo>
                  <a:pt x="1485416" y="-5094"/>
                  <a:pt x="1767094" y="43327"/>
                  <a:pt x="1921490" y="0"/>
                </a:cubicBezTo>
                <a:cubicBezTo>
                  <a:pt x="2075886" y="-43327"/>
                  <a:pt x="2194986" y="32994"/>
                  <a:pt x="2398168" y="0"/>
                </a:cubicBezTo>
                <a:cubicBezTo>
                  <a:pt x="2601350" y="-32994"/>
                  <a:pt x="2725470" y="8147"/>
                  <a:pt x="2972349" y="0"/>
                </a:cubicBezTo>
                <a:cubicBezTo>
                  <a:pt x="3219228" y="-8147"/>
                  <a:pt x="3301264" y="51108"/>
                  <a:pt x="3579030" y="0"/>
                </a:cubicBezTo>
                <a:cubicBezTo>
                  <a:pt x="3786036" y="-43979"/>
                  <a:pt x="3862847" y="129974"/>
                  <a:pt x="3907982" y="328952"/>
                </a:cubicBezTo>
                <a:cubicBezTo>
                  <a:pt x="3927190" y="499761"/>
                  <a:pt x="3865014" y="622426"/>
                  <a:pt x="3907982" y="754383"/>
                </a:cubicBezTo>
                <a:cubicBezTo>
                  <a:pt x="3950950" y="886340"/>
                  <a:pt x="3884282" y="1010150"/>
                  <a:pt x="3907982" y="1166657"/>
                </a:cubicBezTo>
                <a:cubicBezTo>
                  <a:pt x="3931682" y="1323164"/>
                  <a:pt x="3889635" y="1536617"/>
                  <a:pt x="3907982" y="1644719"/>
                </a:cubicBezTo>
                <a:cubicBezTo>
                  <a:pt x="3943622" y="1816961"/>
                  <a:pt x="3755069" y="2012715"/>
                  <a:pt x="3579030" y="1973671"/>
                </a:cubicBezTo>
                <a:cubicBezTo>
                  <a:pt x="3444668" y="1990488"/>
                  <a:pt x="3272787" y="1932051"/>
                  <a:pt x="3102352" y="1973671"/>
                </a:cubicBezTo>
                <a:cubicBezTo>
                  <a:pt x="2931917" y="2015291"/>
                  <a:pt x="2776420" y="1930870"/>
                  <a:pt x="2593173" y="1973671"/>
                </a:cubicBezTo>
                <a:cubicBezTo>
                  <a:pt x="2409926" y="2016472"/>
                  <a:pt x="2166683" y="1935861"/>
                  <a:pt x="2051493" y="1973671"/>
                </a:cubicBezTo>
                <a:cubicBezTo>
                  <a:pt x="1936303" y="2011481"/>
                  <a:pt x="1706003" y="1931122"/>
                  <a:pt x="1574815" y="1973671"/>
                </a:cubicBezTo>
                <a:cubicBezTo>
                  <a:pt x="1443627" y="2016220"/>
                  <a:pt x="1247899" y="1953274"/>
                  <a:pt x="968134" y="1973671"/>
                </a:cubicBezTo>
                <a:cubicBezTo>
                  <a:pt x="688369" y="1994068"/>
                  <a:pt x="520585" y="1903923"/>
                  <a:pt x="328952" y="1973671"/>
                </a:cubicBezTo>
                <a:cubicBezTo>
                  <a:pt x="155980" y="2004226"/>
                  <a:pt x="13462" y="1832062"/>
                  <a:pt x="0" y="1644719"/>
                </a:cubicBezTo>
                <a:cubicBezTo>
                  <a:pt x="-41624" y="1532307"/>
                  <a:pt x="43509" y="1313492"/>
                  <a:pt x="0" y="1206130"/>
                </a:cubicBezTo>
                <a:cubicBezTo>
                  <a:pt x="-43509" y="1098768"/>
                  <a:pt x="9235" y="894212"/>
                  <a:pt x="0" y="754383"/>
                </a:cubicBezTo>
                <a:cubicBezTo>
                  <a:pt x="-9235" y="614554"/>
                  <a:pt x="45077" y="497656"/>
                  <a:pt x="0" y="328952"/>
                </a:cubicBezTo>
                <a:close/>
              </a:path>
              <a:path w="3907982" h="1973671" stroke="0" extrusionOk="0">
                <a:moveTo>
                  <a:pt x="0" y="328952"/>
                </a:moveTo>
                <a:cubicBezTo>
                  <a:pt x="-17036" y="136769"/>
                  <a:pt x="106867" y="15167"/>
                  <a:pt x="328952" y="0"/>
                </a:cubicBezTo>
                <a:cubicBezTo>
                  <a:pt x="603979" y="-9680"/>
                  <a:pt x="800722" y="68343"/>
                  <a:pt x="935633" y="0"/>
                </a:cubicBezTo>
                <a:cubicBezTo>
                  <a:pt x="1070544" y="-68343"/>
                  <a:pt x="1330191" y="21190"/>
                  <a:pt x="1444812" y="0"/>
                </a:cubicBezTo>
                <a:cubicBezTo>
                  <a:pt x="1559433" y="-21190"/>
                  <a:pt x="1790638" y="47625"/>
                  <a:pt x="1921490" y="0"/>
                </a:cubicBezTo>
                <a:cubicBezTo>
                  <a:pt x="2052342" y="-47625"/>
                  <a:pt x="2277783" y="49593"/>
                  <a:pt x="2495671" y="0"/>
                </a:cubicBezTo>
                <a:cubicBezTo>
                  <a:pt x="2713559" y="-49593"/>
                  <a:pt x="2761626" y="33268"/>
                  <a:pt x="3004850" y="0"/>
                </a:cubicBezTo>
                <a:cubicBezTo>
                  <a:pt x="3248074" y="-33268"/>
                  <a:pt x="3393992" y="11087"/>
                  <a:pt x="3579030" y="0"/>
                </a:cubicBezTo>
                <a:cubicBezTo>
                  <a:pt x="3756092" y="-43988"/>
                  <a:pt x="3877284" y="189938"/>
                  <a:pt x="3907982" y="328952"/>
                </a:cubicBezTo>
                <a:cubicBezTo>
                  <a:pt x="3931566" y="483168"/>
                  <a:pt x="3882106" y="626174"/>
                  <a:pt x="3907982" y="741226"/>
                </a:cubicBezTo>
                <a:cubicBezTo>
                  <a:pt x="3933858" y="856278"/>
                  <a:pt x="3897496" y="1066877"/>
                  <a:pt x="3907982" y="1179815"/>
                </a:cubicBezTo>
                <a:cubicBezTo>
                  <a:pt x="3918468" y="1292753"/>
                  <a:pt x="3883749" y="1486061"/>
                  <a:pt x="3907982" y="1644719"/>
                </a:cubicBezTo>
                <a:cubicBezTo>
                  <a:pt x="3929061" y="1805565"/>
                  <a:pt x="3804953" y="1945139"/>
                  <a:pt x="3579030" y="1973671"/>
                </a:cubicBezTo>
                <a:cubicBezTo>
                  <a:pt x="3322915" y="1984342"/>
                  <a:pt x="3289776" y="1938820"/>
                  <a:pt x="3037350" y="1973671"/>
                </a:cubicBezTo>
                <a:cubicBezTo>
                  <a:pt x="2784924" y="2008522"/>
                  <a:pt x="2703014" y="1930405"/>
                  <a:pt x="2560672" y="1973671"/>
                </a:cubicBezTo>
                <a:cubicBezTo>
                  <a:pt x="2418330" y="2016937"/>
                  <a:pt x="2234328" y="1937553"/>
                  <a:pt x="2018993" y="1973671"/>
                </a:cubicBezTo>
                <a:cubicBezTo>
                  <a:pt x="1803658" y="2009789"/>
                  <a:pt x="1706910" y="1955422"/>
                  <a:pt x="1412311" y="1973671"/>
                </a:cubicBezTo>
                <a:cubicBezTo>
                  <a:pt x="1117712" y="1991920"/>
                  <a:pt x="1139380" y="1957958"/>
                  <a:pt x="870632" y="1973671"/>
                </a:cubicBezTo>
                <a:cubicBezTo>
                  <a:pt x="601884" y="1989384"/>
                  <a:pt x="522801" y="1956084"/>
                  <a:pt x="328952" y="1973671"/>
                </a:cubicBezTo>
                <a:cubicBezTo>
                  <a:pt x="119289" y="1974823"/>
                  <a:pt x="22827" y="1785244"/>
                  <a:pt x="0" y="1644719"/>
                </a:cubicBezTo>
                <a:cubicBezTo>
                  <a:pt x="-42726" y="1426548"/>
                  <a:pt x="37150" y="1382597"/>
                  <a:pt x="0" y="1192972"/>
                </a:cubicBezTo>
                <a:cubicBezTo>
                  <a:pt x="-37150" y="1003347"/>
                  <a:pt x="47038" y="893053"/>
                  <a:pt x="0" y="780699"/>
                </a:cubicBezTo>
                <a:cubicBezTo>
                  <a:pt x="-47038" y="668345"/>
                  <a:pt x="18524" y="510819"/>
                  <a:pt x="0" y="32895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  <a:alpha val="0"/>
                </a:schemeClr>
              </a:gs>
              <a:gs pos="38000">
                <a:schemeClr val="accent2">
                  <a:lumMod val="97000"/>
                  <a:lumOff val="3000"/>
                </a:schemeClr>
              </a:gs>
              <a:gs pos="55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5511DB5-BA82-0B4D-6C1F-BD6988456645}"/>
              </a:ext>
            </a:extLst>
          </p:cNvPr>
          <p:cNvSpPr/>
          <p:nvPr/>
        </p:nvSpPr>
        <p:spPr>
          <a:xfrm>
            <a:off x="576146" y="3630212"/>
            <a:ext cx="3907982" cy="1948810"/>
          </a:xfrm>
          <a:custGeom>
            <a:avLst/>
            <a:gdLst>
              <a:gd name="connsiteX0" fmla="*/ 0 w 3907982"/>
              <a:gd name="connsiteY0" fmla="*/ 324808 h 1948810"/>
              <a:gd name="connsiteX1" fmla="*/ 324808 w 3907982"/>
              <a:gd name="connsiteY1" fmla="*/ 0 h 1948810"/>
              <a:gd name="connsiteX2" fmla="*/ 867869 w 3907982"/>
              <a:gd name="connsiteY2" fmla="*/ 0 h 1948810"/>
              <a:gd name="connsiteX3" fmla="*/ 1345763 w 3907982"/>
              <a:gd name="connsiteY3" fmla="*/ 0 h 1948810"/>
              <a:gd name="connsiteX4" fmla="*/ 1921407 w 3907982"/>
              <a:gd name="connsiteY4" fmla="*/ 0 h 1948810"/>
              <a:gd name="connsiteX5" fmla="*/ 2399301 w 3907982"/>
              <a:gd name="connsiteY5" fmla="*/ 0 h 1948810"/>
              <a:gd name="connsiteX6" fmla="*/ 2974946 w 3907982"/>
              <a:gd name="connsiteY6" fmla="*/ 0 h 1948810"/>
              <a:gd name="connsiteX7" fmla="*/ 3583174 w 3907982"/>
              <a:gd name="connsiteY7" fmla="*/ 0 h 1948810"/>
              <a:gd name="connsiteX8" fmla="*/ 3907982 w 3907982"/>
              <a:gd name="connsiteY8" fmla="*/ 324808 h 1948810"/>
              <a:gd name="connsiteX9" fmla="*/ 3907982 w 3907982"/>
              <a:gd name="connsiteY9" fmla="*/ 744881 h 1948810"/>
              <a:gd name="connsiteX10" fmla="*/ 3907982 w 3907982"/>
              <a:gd name="connsiteY10" fmla="*/ 1151962 h 1948810"/>
              <a:gd name="connsiteX11" fmla="*/ 3907982 w 3907982"/>
              <a:gd name="connsiteY11" fmla="*/ 1624002 h 1948810"/>
              <a:gd name="connsiteX12" fmla="*/ 3583174 w 3907982"/>
              <a:gd name="connsiteY12" fmla="*/ 1948810 h 1948810"/>
              <a:gd name="connsiteX13" fmla="*/ 3105280 w 3907982"/>
              <a:gd name="connsiteY13" fmla="*/ 1948810 h 1948810"/>
              <a:gd name="connsiteX14" fmla="*/ 2594803 w 3907982"/>
              <a:gd name="connsiteY14" fmla="*/ 1948810 h 1948810"/>
              <a:gd name="connsiteX15" fmla="*/ 2051742 w 3907982"/>
              <a:gd name="connsiteY15" fmla="*/ 1948810 h 1948810"/>
              <a:gd name="connsiteX16" fmla="*/ 1573848 w 3907982"/>
              <a:gd name="connsiteY16" fmla="*/ 1948810 h 1948810"/>
              <a:gd name="connsiteX17" fmla="*/ 965620 w 3907982"/>
              <a:gd name="connsiteY17" fmla="*/ 1948810 h 1948810"/>
              <a:gd name="connsiteX18" fmla="*/ 324808 w 3907982"/>
              <a:gd name="connsiteY18" fmla="*/ 1948810 h 1948810"/>
              <a:gd name="connsiteX19" fmla="*/ 0 w 3907982"/>
              <a:gd name="connsiteY19" fmla="*/ 1624002 h 1948810"/>
              <a:gd name="connsiteX20" fmla="*/ 0 w 3907982"/>
              <a:gd name="connsiteY20" fmla="*/ 1190937 h 1948810"/>
              <a:gd name="connsiteX21" fmla="*/ 0 w 3907982"/>
              <a:gd name="connsiteY21" fmla="*/ 744881 h 1948810"/>
              <a:gd name="connsiteX22" fmla="*/ 0 w 3907982"/>
              <a:gd name="connsiteY22" fmla="*/ 324808 h 194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48810" fill="none" extrusionOk="0">
                <a:moveTo>
                  <a:pt x="0" y="324808"/>
                </a:moveTo>
                <a:cubicBezTo>
                  <a:pt x="-9814" y="144866"/>
                  <a:pt x="183880" y="33110"/>
                  <a:pt x="324808" y="0"/>
                </a:cubicBezTo>
                <a:cubicBezTo>
                  <a:pt x="511642" y="-49885"/>
                  <a:pt x="676449" y="10538"/>
                  <a:pt x="867869" y="0"/>
                </a:cubicBezTo>
                <a:cubicBezTo>
                  <a:pt x="1059289" y="-10538"/>
                  <a:pt x="1232694" y="38815"/>
                  <a:pt x="1345763" y="0"/>
                </a:cubicBezTo>
                <a:cubicBezTo>
                  <a:pt x="1458832" y="-38815"/>
                  <a:pt x="1719905" y="18510"/>
                  <a:pt x="1921407" y="0"/>
                </a:cubicBezTo>
                <a:cubicBezTo>
                  <a:pt x="2122909" y="-18510"/>
                  <a:pt x="2244503" y="13959"/>
                  <a:pt x="2399301" y="0"/>
                </a:cubicBezTo>
                <a:cubicBezTo>
                  <a:pt x="2554099" y="-13959"/>
                  <a:pt x="2739638" y="61767"/>
                  <a:pt x="2974946" y="0"/>
                </a:cubicBezTo>
                <a:cubicBezTo>
                  <a:pt x="3210254" y="-61767"/>
                  <a:pt x="3352165" y="29902"/>
                  <a:pt x="3583174" y="0"/>
                </a:cubicBezTo>
                <a:cubicBezTo>
                  <a:pt x="3767010" y="-7724"/>
                  <a:pt x="3893431" y="139843"/>
                  <a:pt x="3907982" y="324808"/>
                </a:cubicBezTo>
                <a:cubicBezTo>
                  <a:pt x="3917924" y="436572"/>
                  <a:pt x="3883703" y="595369"/>
                  <a:pt x="3907982" y="744881"/>
                </a:cubicBezTo>
                <a:cubicBezTo>
                  <a:pt x="3932261" y="894393"/>
                  <a:pt x="3894731" y="1056175"/>
                  <a:pt x="3907982" y="1151962"/>
                </a:cubicBezTo>
                <a:cubicBezTo>
                  <a:pt x="3921233" y="1247749"/>
                  <a:pt x="3884915" y="1416136"/>
                  <a:pt x="3907982" y="1624002"/>
                </a:cubicBezTo>
                <a:cubicBezTo>
                  <a:pt x="3951987" y="1791742"/>
                  <a:pt x="3755826" y="1995464"/>
                  <a:pt x="3583174" y="1948810"/>
                </a:cubicBezTo>
                <a:cubicBezTo>
                  <a:pt x="3376622" y="1978462"/>
                  <a:pt x="3333771" y="1894812"/>
                  <a:pt x="3105280" y="1948810"/>
                </a:cubicBezTo>
                <a:cubicBezTo>
                  <a:pt x="2876789" y="2002808"/>
                  <a:pt x="2821251" y="1905816"/>
                  <a:pt x="2594803" y="1948810"/>
                </a:cubicBezTo>
                <a:cubicBezTo>
                  <a:pt x="2368355" y="1991804"/>
                  <a:pt x="2240340" y="1918797"/>
                  <a:pt x="2051742" y="1948810"/>
                </a:cubicBezTo>
                <a:cubicBezTo>
                  <a:pt x="1863144" y="1978823"/>
                  <a:pt x="1807665" y="1907858"/>
                  <a:pt x="1573848" y="1948810"/>
                </a:cubicBezTo>
                <a:cubicBezTo>
                  <a:pt x="1340031" y="1989762"/>
                  <a:pt x="1221594" y="1931019"/>
                  <a:pt x="965620" y="1948810"/>
                </a:cubicBezTo>
                <a:cubicBezTo>
                  <a:pt x="709646" y="1966601"/>
                  <a:pt x="491756" y="1948759"/>
                  <a:pt x="324808" y="1948810"/>
                </a:cubicBezTo>
                <a:cubicBezTo>
                  <a:pt x="151042" y="1968543"/>
                  <a:pt x="16420" y="1810302"/>
                  <a:pt x="0" y="1624002"/>
                </a:cubicBezTo>
                <a:cubicBezTo>
                  <a:pt x="-16740" y="1503674"/>
                  <a:pt x="50220" y="1313890"/>
                  <a:pt x="0" y="1190937"/>
                </a:cubicBezTo>
                <a:cubicBezTo>
                  <a:pt x="-50220" y="1067984"/>
                  <a:pt x="52467" y="858783"/>
                  <a:pt x="0" y="744881"/>
                </a:cubicBezTo>
                <a:cubicBezTo>
                  <a:pt x="-52467" y="630979"/>
                  <a:pt x="2738" y="488934"/>
                  <a:pt x="0" y="324808"/>
                </a:cubicBezTo>
                <a:close/>
              </a:path>
              <a:path w="3907982" h="1948810" stroke="0" extrusionOk="0">
                <a:moveTo>
                  <a:pt x="0" y="324808"/>
                </a:moveTo>
                <a:cubicBezTo>
                  <a:pt x="-16458" y="135269"/>
                  <a:pt x="100042" y="17032"/>
                  <a:pt x="324808" y="0"/>
                </a:cubicBezTo>
                <a:cubicBezTo>
                  <a:pt x="584856" y="-70117"/>
                  <a:pt x="686307" y="72296"/>
                  <a:pt x="933036" y="0"/>
                </a:cubicBezTo>
                <a:cubicBezTo>
                  <a:pt x="1179765" y="-72296"/>
                  <a:pt x="1243637" y="4369"/>
                  <a:pt x="1443514" y="0"/>
                </a:cubicBezTo>
                <a:cubicBezTo>
                  <a:pt x="1643391" y="-4369"/>
                  <a:pt x="1762975" y="54884"/>
                  <a:pt x="1921407" y="0"/>
                </a:cubicBezTo>
                <a:cubicBezTo>
                  <a:pt x="2079839" y="-54884"/>
                  <a:pt x="2256426" y="16742"/>
                  <a:pt x="2497052" y="0"/>
                </a:cubicBezTo>
                <a:cubicBezTo>
                  <a:pt x="2737679" y="-16742"/>
                  <a:pt x="2804866" y="36103"/>
                  <a:pt x="3007529" y="0"/>
                </a:cubicBezTo>
                <a:cubicBezTo>
                  <a:pt x="3210192" y="-36103"/>
                  <a:pt x="3298463" y="3978"/>
                  <a:pt x="3583174" y="0"/>
                </a:cubicBezTo>
                <a:cubicBezTo>
                  <a:pt x="3756999" y="-53038"/>
                  <a:pt x="3892316" y="167193"/>
                  <a:pt x="3907982" y="324808"/>
                </a:cubicBezTo>
                <a:cubicBezTo>
                  <a:pt x="3914214" y="511100"/>
                  <a:pt x="3875098" y="647723"/>
                  <a:pt x="3907982" y="731889"/>
                </a:cubicBezTo>
                <a:cubicBezTo>
                  <a:pt x="3940866" y="816055"/>
                  <a:pt x="3881811" y="1057140"/>
                  <a:pt x="3907982" y="1164953"/>
                </a:cubicBezTo>
                <a:cubicBezTo>
                  <a:pt x="3934153" y="1272766"/>
                  <a:pt x="3895042" y="1405071"/>
                  <a:pt x="3907982" y="1624002"/>
                </a:cubicBezTo>
                <a:cubicBezTo>
                  <a:pt x="3923788" y="1787770"/>
                  <a:pt x="3773966" y="1941456"/>
                  <a:pt x="3583174" y="1948810"/>
                </a:cubicBezTo>
                <a:cubicBezTo>
                  <a:pt x="3337323" y="1967761"/>
                  <a:pt x="3255795" y="1893168"/>
                  <a:pt x="3040113" y="1948810"/>
                </a:cubicBezTo>
                <a:cubicBezTo>
                  <a:pt x="2824431" y="2004452"/>
                  <a:pt x="2690484" y="1893128"/>
                  <a:pt x="2562219" y="1948810"/>
                </a:cubicBezTo>
                <a:cubicBezTo>
                  <a:pt x="2433954" y="2004492"/>
                  <a:pt x="2238330" y="1944723"/>
                  <a:pt x="2019158" y="1948810"/>
                </a:cubicBezTo>
                <a:cubicBezTo>
                  <a:pt x="1799986" y="1952897"/>
                  <a:pt x="1605572" y="1902699"/>
                  <a:pt x="1410930" y="1948810"/>
                </a:cubicBezTo>
                <a:cubicBezTo>
                  <a:pt x="1216288" y="1994921"/>
                  <a:pt x="1011217" y="1916185"/>
                  <a:pt x="867869" y="1948810"/>
                </a:cubicBezTo>
                <a:cubicBezTo>
                  <a:pt x="724521" y="1981435"/>
                  <a:pt x="500572" y="1910232"/>
                  <a:pt x="324808" y="1948810"/>
                </a:cubicBezTo>
                <a:cubicBezTo>
                  <a:pt x="106065" y="1950430"/>
                  <a:pt x="3372" y="1797311"/>
                  <a:pt x="0" y="1624002"/>
                </a:cubicBezTo>
                <a:cubicBezTo>
                  <a:pt x="-3772" y="1437588"/>
                  <a:pt x="12891" y="1341957"/>
                  <a:pt x="0" y="1177945"/>
                </a:cubicBezTo>
                <a:cubicBezTo>
                  <a:pt x="-12891" y="1013933"/>
                  <a:pt x="47923" y="937091"/>
                  <a:pt x="0" y="770865"/>
                </a:cubicBezTo>
                <a:cubicBezTo>
                  <a:pt x="-47923" y="604639"/>
                  <a:pt x="11915" y="419747"/>
                  <a:pt x="0" y="324808"/>
                </a:cubicBezTo>
                <a:close/>
              </a:path>
            </a:pathLst>
          </a:custGeom>
          <a:gradFill flip="none" rotWithShape="1">
            <a:gsLst>
              <a:gs pos="23000">
                <a:schemeClr val="accent6">
                  <a:lumMod val="67000"/>
                  <a:alpha val="0"/>
                </a:schemeClr>
              </a:gs>
              <a:gs pos="50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32C0AE-654A-2838-C77B-22EEE672F3DB}"/>
              </a:ext>
            </a:extLst>
          </p:cNvPr>
          <p:cNvSpPr txBox="1"/>
          <p:nvPr/>
        </p:nvSpPr>
        <p:spPr>
          <a:xfrm>
            <a:off x="772159" y="4639328"/>
            <a:ext cx="1323054" cy="369332"/>
          </a:xfrm>
          <a:custGeom>
            <a:avLst/>
            <a:gdLst>
              <a:gd name="connsiteX0" fmla="*/ 0 w 1323054"/>
              <a:gd name="connsiteY0" fmla="*/ 0 h 369332"/>
              <a:gd name="connsiteX1" fmla="*/ 427787 w 1323054"/>
              <a:gd name="connsiteY1" fmla="*/ 0 h 369332"/>
              <a:gd name="connsiteX2" fmla="*/ 829114 w 1323054"/>
              <a:gd name="connsiteY2" fmla="*/ 0 h 369332"/>
              <a:gd name="connsiteX3" fmla="*/ 1323054 w 1323054"/>
              <a:gd name="connsiteY3" fmla="*/ 0 h 369332"/>
              <a:gd name="connsiteX4" fmla="*/ 1323054 w 1323054"/>
              <a:gd name="connsiteY4" fmla="*/ 369332 h 369332"/>
              <a:gd name="connsiteX5" fmla="*/ 908497 w 1323054"/>
              <a:gd name="connsiteY5" fmla="*/ 369332 h 369332"/>
              <a:gd name="connsiteX6" fmla="*/ 441018 w 1323054"/>
              <a:gd name="connsiteY6" fmla="*/ 369332 h 369332"/>
              <a:gd name="connsiteX7" fmla="*/ 0 w 1323054"/>
              <a:gd name="connsiteY7" fmla="*/ 369332 h 369332"/>
              <a:gd name="connsiteX8" fmla="*/ 0 w 132305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3054" h="369332" extrusionOk="0">
                <a:moveTo>
                  <a:pt x="0" y="0"/>
                </a:moveTo>
                <a:cubicBezTo>
                  <a:pt x="140916" y="-24695"/>
                  <a:pt x="229075" y="49349"/>
                  <a:pt x="427787" y="0"/>
                </a:cubicBezTo>
                <a:cubicBezTo>
                  <a:pt x="626499" y="-49349"/>
                  <a:pt x="681920" y="40189"/>
                  <a:pt x="829114" y="0"/>
                </a:cubicBezTo>
                <a:cubicBezTo>
                  <a:pt x="976308" y="-40189"/>
                  <a:pt x="1209277" y="51528"/>
                  <a:pt x="1323054" y="0"/>
                </a:cubicBezTo>
                <a:cubicBezTo>
                  <a:pt x="1358642" y="113493"/>
                  <a:pt x="1296247" y="197069"/>
                  <a:pt x="1323054" y="369332"/>
                </a:cubicBezTo>
                <a:cubicBezTo>
                  <a:pt x="1173213" y="380433"/>
                  <a:pt x="1061290" y="360094"/>
                  <a:pt x="908497" y="369332"/>
                </a:cubicBezTo>
                <a:cubicBezTo>
                  <a:pt x="755704" y="378570"/>
                  <a:pt x="567231" y="359462"/>
                  <a:pt x="441018" y="369332"/>
                </a:cubicBezTo>
                <a:cubicBezTo>
                  <a:pt x="314805" y="379202"/>
                  <a:pt x="120376" y="33323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D727FC-C6A3-9DAF-8AF5-DF0A415096C9}"/>
              </a:ext>
            </a:extLst>
          </p:cNvPr>
          <p:cNvSpPr txBox="1"/>
          <p:nvPr/>
        </p:nvSpPr>
        <p:spPr>
          <a:xfrm>
            <a:off x="1673263" y="5122766"/>
            <a:ext cx="2624821" cy="369332"/>
          </a:xfrm>
          <a:custGeom>
            <a:avLst/>
            <a:gdLst>
              <a:gd name="connsiteX0" fmla="*/ 0 w 2624821"/>
              <a:gd name="connsiteY0" fmla="*/ 0 h 369332"/>
              <a:gd name="connsiteX1" fmla="*/ 498716 w 2624821"/>
              <a:gd name="connsiteY1" fmla="*/ 0 h 369332"/>
              <a:gd name="connsiteX2" fmla="*/ 944936 w 2624821"/>
              <a:gd name="connsiteY2" fmla="*/ 0 h 369332"/>
              <a:gd name="connsiteX3" fmla="*/ 1522396 w 2624821"/>
              <a:gd name="connsiteY3" fmla="*/ 0 h 369332"/>
              <a:gd name="connsiteX4" fmla="*/ 2021112 w 2624821"/>
              <a:gd name="connsiteY4" fmla="*/ 0 h 369332"/>
              <a:gd name="connsiteX5" fmla="*/ 2624821 w 2624821"/>
              <a:gd name="connsiteY5" fmla="*/ 0 h 369332"/>
              <a:gd name="connsiteX6" fmla="*/ 2624821 w 2624821"/>
              <a:gd name="connsiteY6" fmla="*/ 369332 h 369332"/>
              <a:gd name="connsiteX7" fmla="*/ 2099857 w 2624821"/>
              <a:gd name="connsiteY7" fmla="*/ 369332 h 369332"/>
              <a:gd name="connsiteX8" fmla="*/ 1522396 w 2624821"/>
              <a:gd name="connsiteY8" fmla="*/ 369332 h 369332"/>
              <a:gd name="connsiteX9" fmla="*/ 1076177 w 2624821"/>
              <a:gd name="connsiteY9" fmla="*/ 369332 h 369332"/>
              <a:gd name="connsiteX10" fmla="*/ 551212 w 2624821"/>
              <a:gd name="connsiteY10" fmla="*/ 369332 h 369332"/>
              <a:gd name="connsiteX11" fmla="*/ 0 w 2624821"/>
              <a:gd name="connsiteY11" fmla="*/ 369332 h 369332"/>
              <a:gd name="connsiteX12" fmla="*/ 0 w 2624821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24821" h="369332" extrusionOk="0">
                <a:moveTo>
                  <a:pt x="0" y="0"/>
                </a:moveTo>
                <a:cubicBezTo>
                  <a:pt x="202232" y="-43188"/>
                  <a:pt x="350877" y="19620"/>
                  <a:pt x="498716" y="0"/>
                </a:cubicBezTo>
                <a:cubicBezTo>
                  <a:pt x="646555" y="-19620"/>
                  <a:pt x="825399" y="48375"/>
                  <a:pt x="944936" y="0"/>
                </a:cubicBezTo>
                <a:cubicBezTo>
                  <a:pt x="1064473" y="-48375"/>
                  <a:pt x="1382501" y="49983"/>
                  <a:pt x="1522396" y="0"/>
                </a:cubicBezTo>
                <a:cubicBezTo>
                  <a:pt x="1662291" y="-49983"/>
                  <a:pt x="1891154" y="37239"/>
                  <a:pt x="2021112" y="0"/>
                </a:cubicBezTo>
                <a:cubicBezTo>
                  <a:pt x="2151070" y="-37239"/>
                  <a:pt x="2400332" y="31076"/>
                  <a:pt x="2624821" y="0"/>
                </a:cubicBezTo>
                <a:cubicBezTo>
                  <a:pt x="2660981" y="81226"/>
                  <a:pt x="2603283" y="278722"/>
                  <a:pt x="2624821" y="369332"/>
                </a:cubicBezTo>
                <a:cubicBezTo>
                  <a:pt x="2425850" y="421389"/>
                  <a:pt x="2251795" y="333479"/>
                  <a:pt x="2099857" y="369332"/>
                </a:cubicBezTo>
                <a:cubicBezTo>
                  <a:pt x="1947919" y="405185"/>
                  <a:pt x="1726067" y="344819"/>
                  <a:pt x="1522396" y="369332"/>
                </a:cubicBezTo>
                <a:cubicBezTo>
                  <a:pt x="1318725" y="393845"/>
                  <a:pt x="1282524" y="321123"/>
                  <a:pt x="1076177" y="369332"/>
                </a:cubicBezTo>
                <a:cubicBezTo>
                  <a:pt x="869830" y="417541"/>
                  <a:pt x="780650" y="353207"/>
                  <a:pt x="551212" y="369332"/>
                </a:cubicBezTo>
                <a:cubicBezTo>
                  <a:pt x="321775" y="385457"/>
                  <a:pt x="157209" y="32414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ons/Onboar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73F669-346B-254F-DCD9-B13DEB261A29}"/>
              </a:ext>
            </a:extLst>
          </p:cNvPr>
          <p:cNvSpPr txBox="1"/>
          <p:nvPr/>
        </p:nvSpPr>
        <p:spPr>
          <a:xfrm>
            <a:off x="729796" y="3741877"/>
            <a:ext cx="1561453" cy="369332"/>
          </a:xfrm>
          <a:custGeom>
            <a:avLst/>
            <a:gdLst>
              <a:gd name="connsiteX0" fmla="*/ 0 w 1561453"/>
              <a:gd name="connsiteY0" fmla="*/ 0 h 369332"/>
              <a:gd name="connsiteX1" fmla="*/ 504870 w 1561453"/>
              <a:gd name="connsiteY1" fmla="*/ 0 h 369332"/>
              <a:gd name="connsiteX2" fmla="*/ 978511 w 1561453"/>
              <a:gd name="connsiteY2" fmla="*/ 0 h 369332"/>
              <a:gd name="connsiteX3" fmla="*/ 1561453 w 1561453"/>
              <a:gd name="connsiteY3" fmla="*/ 0 h 369332"/>
              <a:gd name="connsiteX4" fmla="*/ 1561453 w 1561453"/>
              <a:gd name="connsiteY4" fmla="*/ 369332 h 369332"/>
              <a:gd name="connsiteX5" fmla="*/ 1072198 w 1561453"/>
              <a:gd name="connsiteY5" fmla="*/ 369332 h 369332"/>
              <a:gd name="connsiteX6" fmla="*/ 520484 w 1561453"/>
              <a:gd name="connsiteY6" fmla="*/ 369332 h 369332"/>
              <a:gd name="connsiteX7" fmla="*/ 0 w 1561453"/>
              <a:gd name="connsiteY7" fmla="*/ 369332 h 369332"/>
              <a:gd name="connsiteX8" fmla="*/ 0 w 156145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61453" h="369332" extrusionOk="0">
                <a:moveTo>
                  <a:pt x="0" y="0"/>
                </a:moveTo>
                <a:cubicBezTo>
                  <a:pt x="105663" y="-56601"/>
                  <a:pt x="378439" y="8803"/>
                  <a:pt x="504870" y="0"/>
                </a:cubicBezTo>
                <a:cubicBezTo>
                  <a:pt x="631301" y="-8803"/>
                  <a:pt x="811558" y="50166"/>
                  <a:pt x="978511" y="0"/>
                </a:cubicBezTo>
                <a:cubicBezTo>
                  <a:pt x="1145464" y="-50166"/>
                  <a:pt x="1404115" y="69437"/>
                  <a:pt x="1561453" y="0"/>
                </a:cubicBezTo>
                <a:cubicBezTo>
                  <a:pt x="1597041" y="113493"/>
                  <a:pt x="1534646" y="197069"/>
                  <a:pt x="1561453" y="369332"/>
                </a:cubicBezTo>
                <a:cubicBezTo>
                  <a:pt x="1417838" y="396110"/>
                  <a:pt x="1238872" y="339490"/>
                  <a:pt x="1072198" y="369332"/>
                </a:cubicBezTo>
                <a:cubicBezTo>
                  <a:pt x="905524" y="399174"/>
                  <a:pt x="665741" y="313066"/>
                  <a:pt x="520484" y="369332"/>
                </a:cubicBezTo>
                <a:cubicBezTo>
                  <a:pt x="375227" y="425598"/>
                  <a:pt x="144807" y="32152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F6FAF-26C9-D610-090B-D3C16FB0D072}"/>
              </a:ext>
            </a:extLst>
          </p:cNvPr>
          <p:cNvSpPr txBox="1"/>
          <p:nvPr/>
        </p:nvSpPr>
        <p:spPr>
          <a:xfrm>
            <a:off x="2527007" y="4038208"/>
            <a:ext cx="1646413" cy="369332"/>
          </a:xfrm>
          <a:custGeom>
            <a:avLst/>
            <a:gdLst>
              <a:gd name="connsiteX0" fmla="*/ 0 w 1646413"/>
              <a:gd name="connsiteY0" fmla="*/ 0 h 369332"/>
              <a:gd name="connsiteX1" fmla="*/ 532340 w 1646413"/>
              <a:gd name="connsiteY1" fmla="*/ 0 h 369332"/>
              <a:gd name="connsiteX2" fmla="*/ 1031752 w 1646413"/>
              <a:gd name="connsiteY2" fmla="*/ 0 h 369332"/>
              <a:gd name="connsiteX3" fmla="*/ 1646413 w 1646413"/>
              <a:gd name="connsiteY3" fmla="*/ 0 h 369332"/>
              <a:gd name="connsiteX4" fmla="*/ 1646413 w 1646413"/>
              <a:gd name="connsiteY4" fmla="*/ 369332 h 369332"/>
              <a:gd name="connsiteX5" fmla="*/ 1130537 w 1646413"/>
              <a:gd name="connsiteY5" fmla="*/ 369332 h 369332"/>
              <a:gd name="connsiteX6" fmla="*/ 548804 w 1646413"/>
              <a:gd name="connsiteY6" fmla="*/ 369332 h 369332"/>
              <a:gd name="connsiteX7" fmla="*/ 0 w 1646413"/>
              <a:gd name="connsiteY7" fmla="*/ 369332 h 369332"/>
              <a:gd name="connsiteX8" fmla="*/ 0 w 164641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46413" h="369332" extrusionOk="0">
                <a:moveTo>
                  <a:pt x="0" y="0"/>
                </a:moveTo>
                <a:cubicBezTo>
                  <a:pt x="255277" y="-35214"/>
                  <a:pt x="341683" y="41749"/>
                  <a:pt x="532340" y="0"/>
                </a:cubicBezTo>
                <a:cubicBezTo>
                  <a:pt x="722997" y="-41749"/>
                  <a:pt x="792835" y="26574"/>
                  <a:pt x="1031752" y="0"/>
                </a:cubicBezTo>
                <a:cubicBezTo>
                  <a:pt x="1270669" y="-26574"/>
                  <a:pt x="1355893" y="40199"/>
                  <a:pt x="1646413" y="0"/>
                </a:cubicBezTo>
                <a:cubicBezTo>
                  <a:pt x="1682001" y="113493"/>
                  <a:pt x="1619606" y="197069"/>
                  <a:pt x="1646413" y="369332"/>
                </a:cubicBezTo>
                <a:cubicBezTo>
                  <a:pt x="1424294" y="400777"/>
                  <a:pt x="1345325" y="345683"/>
                  <a:pt x="1130537" y="369332"/>
                </a:cubicBezTo>
                <a:cubicBezTo>
                  <a:pt x="915749" y="392981"/>
                  <a:pt x="676777" y="330864"/>
                  <a:pt x="548804" y="369332"/>
                </a:cubicBezTo>
                <a:cubicBezTo>
                  <a:pt x="420831" y="407800"/>
                  <a:pt x="205308" y="3616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BD15E5-87F3-CA6B-E40E-FB65A8529144}"/>
              </a:ext>
            </a:extLst>
          </p:cNvPr>
          <p:cNvSpPr txBox="1"/>
          <p:nvPr/>
        </p:nvSpPr>
        <p:spPr>
          <a:xfrm>
            <a:off x="739202" y="5776999"/>
            <a:ext cx="1386918" cy="369332"/>
          </a:xfrm>
          <a:custGeom>
            <a:avLst/>
            <a:gdLst>
              <a:gd name="connsiteX0" fmla="*/ 0 w 1386918"/>
              <a:gd name="connsiteY0" fmla="*/ 0 h 369332"/>
              <a:gd name="connsiteX1" fmla="*/ 448437 w 1386918"/>
              <a:gd name="connsiteY1" fmla="*/ 0 h 369332"/>
              <a:gd name="connsiteX2" fmla="*/ 869135 w 1386918"/>
              <a:gd name="connsiteY2" fmla="*/ 0 h 369332"/>
              <a:gd name="connsiteX3" fmla="*/ 1386918 w 1386918"/>
              <a:gd name="connsiteY3" fmla="*/ 0 h 369332"/>
              <a:gd name="connsiteX4" fmla="*/ 1386918 w 1386918"/>
              <a:gd name="connsiteY4" fmla="*/ 369332 h 369332"/>
              <a:gd name="connsiteX5" fmla="*/ 952350 w 1386918"/>
              <a:gd name="connsiteY5" fmla="*/ 369332 h 369332"/>
              <a:gd name="connsiteX6" fmla="*/ 462306 w 1386918"/>
              <a:gd name="connsiteY6" fmla="*/ 369332 h 369332"/>
              <a:gd name="connsiteX7" fmla="*/ 0 w 1386918"/>
              <a:gd name="connsiteY7" fmla="*/ 369332 h 369332"/>
              <a:gd name="connsiteX8" fmla="*/ 0 w 1386918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6918" h="369332" extrusionOk="0">
                <a:moveTo>
                  <a:pt x="0" y="0"/>
                </a:moveTo>
                <a:cubicBezTo>
                  <a:pt x="187637" y="-4289"/>
                  <a:pt x="283600" y="36605"/>
                  <a:pt x="448437" y="0"/>
                </a:cubicBezTo>
                <a:cubicBezTo>
                  <a:pt x="613274" y="-36605"/>
                  <a:pt x="700375" y="17888"/>
                  <a:pt x="869135" y="0"/>
                </a:cubicBezTo>
                <a:cubicBezTo>
                  <a:pt x="1037895" y="-17888"/>
                  <a:pt x="1163468" y="22981"/>
                  <a:pt x="1386918" y="0"/>
                </a:cubicBezTo>
                <a:cubicBezTo>
                  <a:pt x="1422506" y="113493"/>
                  <a:pt x="1360111" y="197069"/>
                  <a:pt x="1386918" y="369332"/>
                </a:cubicBezTo>
                <a:cubicBezTo>
                  <a:pt x="1233383" y="415922"/>
                  <a:pt x="1104230" y="321848"/>
                  <a:pt x="952350" y="369332"/>
                </a:cubicBezTo>
                <a:cubicBezTo>
                  <a:pt x="800470" y="416816"/>
                  <a:pt x="676393" y="335867"/>
                  <a:pt x="462306" y="369332"/>
                </a:cubicBezTo>
                <a:cubicBezTo>
                  <a:pt x="248219" y="402797"/>
                  <a:pt x="122592" y="333919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1FB57E80-A018-A0B1-4D5E-838F9781EBBB}"/>
              </a:ext>
            </a:extLst>
          </p:cNvPr>
          <p:cNvSpPr/>
          <p:nvPr/>
        </p:nvSpPr>
        <p:spPr>
          <a:xfrm>
            <a:off x="3358674" y="2850269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27627FF-FCD2-EA77-5398-CDC6E59D9C0A}"/>
              </a:ext>
            </a:extLst>
          </p:cNvPr>
          <p:cNvSpPr/>
          <p:nvPr/>
        </p:nvSpPr>
        <p:spPr>
          <a:xfrm>
            <a:off x="9600595" y="2866012"/>
            <a:ext cx="882285" cy="267739"/>
          </a:xfrm>
          <a:custGeom>
            <a:avLst/>
            <a:gdLst>
              <a:gd name="connsiteX0" fmla="*/ 0 w 882285"/>
              <a:gd name="connsiteY0" fmla="*/ 66935 h 267739"/>
              <a:gd name="connsiteX1" fmla="*/ 366724 w 882285"/>
              <a:gd name="connsiteY1" fmla="*/ 66935 h 267739"/>
              <a:gd name="connsiteX2" fmla="*/ 748416 w 882285"/>
              <a:gd name="connsiteY2" fmla="*/ 66935 h 267739"/>
              <a:gd name="connsiteX3" fmla="*/ 748416 w 882285"/>
              <a:gd name="connsiteY3" fmla="*/ 0 h 267739"/>
              <a:gd name="connsiteX4" fmla="*/ 882285 w 882285"/>
              <a:gd name="connsiteY4" fmla="*/ 133870 h 267739"/>
              <a:gd name="connsiteX5" fmla="*/ 748416 w 882285"/>
              <a:gd name="connsiteY5" fmla="*/ 267739 h 267739"/>
              <a:gd name="connsiteX6" fmla="*/ 748416 w 882285"/>
              <a:gd name="connsiteY6" fmla="*/ 200804 h 267739"/>
              <a:gd name="connsiteX7" fmla="*/ 389176 w 882285"/>
              <a:gd name="connsiteY7" fmla="*/ 200804 h 267739"/>
              <a:gd name="connsiteX8" fmla="*/ 0 w 882285"/>
              <a:gd name="connsiteY8" fmla="*/ 200804 h 267739"/>
              <a:gd name="connsiteX9" fmla="*/ 0 w 882285"/>
              <a:gd name="connsiteY9" fmla="*/ 66935 h 26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2285" h="267739" extrusionOk="0">
                <a:moveTo>
                  <a:pt x="0" y="66935"/>
                </a:moveTo>
                <a:cubicBezTo>
                  <a:pt x="105584" y="66583"/>
                  <a:pt x="271670" y="68505"/>
                  <a:pt x="366724" y="66935"/>
                </a:cubicBezTo>
                <a:cubicBezTo>
                  <a:pt x="461778" y="65365"/>
                  <a:pt x="562217" y="62688"/>
                  <a:pt x="748416" y="66935"/>
                </a:cubicBezTo>
                <a:cubicBezTo>
                  <a:pt x="748903" y="50486"/>
                  <a:pt x="745949" y="28541"/>
                  <a:pt x="748416" y="0"/>
                </a:cubicBezTo>
                <a:cubicBezTo>
                  <a:pt x="799410" y="58417"/>
                  <a:pt x="827958" y="70310"/>
                  <a:pt x="882285" y="133870"/>
                </a:cubicBezTo>
                <a:cubicBezTo>
                  <a:pt x="841114" y="175366"/>
                  <a:pt x="806982" y="207873"/>
                  <a:pt x="748416" y="267739"/>
                </a:cubicBezTo>
                <a:cubicBezTo>
                  <a:pt x="747199" y="241938"/>
                  <a:pt x="750124" y="227606"/>
                  <a:pt x="748416" y="200804"/>
                </a:cubicBezTo>
                <a:cubicBezTo>
                  <a:pt x="590299" y="183490"/>
                  <a:pt x="467139" y="184131"/>
                  <a:pt x="389176" y="200804"/>
                </a:cubicBezTo>
                <a:cubicBezTo>
                  <a:pt x="311213" y="217477"/>
                  <a:pt x="192231" y="202141"/>
                  <a:pt x="0" y="200804"/>
                </a:cubicBezTo>
                <a:cubicBezTo>
                  <a:pt x="-6026" y="162536"/>
                  <a:pt x="5236" y="102763"/>
                  <a:pt x="0" y="66935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B53F8E3-322F-0C5B-73FC-001E319C1888}"/>
              </a:ext>
            </a:extLst>
          </p:cNvPr>
          <p:cNvSpPr/>
          <p:nvPr/>
        </p:nvSpPr>
        <p:spPr>
          <a:xfrm>
            <a:off x="7712505" y="2896409"/>
            <a:ext cx="348132" cy="216575"/>
          </a:xfrm>
          <a:custGeom>
            <a:avLst/>
            <a:gdLst>
              <a:gd name="connsiteX0" fmla="*/ 0 w 348132"/>
              <a:gd name="connsiteY0" fmla="*/ 54144 h 216575"/>
              <a:gd name="connsiteX1" fmla="*/ 239845 w 348132"/>
              <a:gd name="connsiteY1" fmla="*/ 54144 h 216575"/>
              <a:gd name="connsiteX2" fmla="*/ 239845 w 348132"/>
              <a:gd name="connsiteY2" fmla="*/ 0 h 216575"/>
              <a:gd name="connsiteX3" fmla="*/ 348132 w 348132"/>
              <a:gd name="connsiteY3" fmla="*/ 108288 h 216575"/>
              <a:gd name="connsiteX4" fmla="*/ 239845 w 348132"/>
              <a:gd name="connsiteY4" fmla="*/ 216575 h 216575"/>
              <a:gd name="connsiteX5" fmla="*/ 239845 w 348132"/>
              <a:gd name="connsiteY5" fmla="*/ 162431 h 216575"/>
              <a:gd name="connsiteX6" fmla="*/ 0 w 348132"/>
              <a:gd name="connsiteY6" fmla="*/ 162431 h 216575"/>
              <a:gd name="connsiteX7" fmla="*/ 0 w 348132"/>
              <a:gd name="connsiteY7" fmla="*/ 54144 h 216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132" h="216575" extrusionOk="0">
                <a:moveTo>
                  <a:pt x="0" y="54144"/>
                </a:moveTo>
                <a:cubicBezTo>
                  <a:pt x="105584" y="51053"/>
                  <a:pt x="137275" y="55119"/>
                  <a:pt x="239845" y="54144"/>
                </a:cubicBezTo>
                <a:cubicBezTo>
                  <a:pt x="242104" y="34405"/>
                  <a:pt x="242099" y="13583"/>
                  <a:pt x="239845" y="0"/>
                </a:cubicBezTo>
                <a:cubicBezTo>
                  <a:pt x="287711" y="52099"/>
                  <a:pt x="314388" y="77475"/>
                  <a:pt x="348132" y="108288"/>
                </a:cubicBezTo>
                <a:cubicBezTo>
                  <a:pt x="308244" y="146567"/>
                  <a:pt x="274671" y="184508"/>
                  <a:pt x="239845" y="216575"/>
                </a:cubicBezTo>
                <a:cubicBezTo>
                  <a:pt x="237942" y="198448"/>
                  <a:pt x="239280" y="179664"/>
                  <a:pt x="239845" y="162431"/>
                </a:cubicBezTo>
                <a:cubicBezTo>
                  <a:pt x="152833" y="154719"/>
                  <a:pt x="105099" y="164165"/>
                  <a:pt x="0" y="162431"/>
                </a:cubicBezTo>
                <a:cubicBezTo>
                  <a:pt x="-2135" y="139021"/>
                  <a:pt x="4951" y="105636"/>
                  <a:pt x="0" y="5414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BA51D45-08DA-A647-CEE8-9DB79872E098}"/>
              </a:ext>
            </a:extLst>
          </p:cNvPr>
          <p:cNvSpPr txBox="1"/>
          <p:nvPr/>
        </p:nvSpPr>
        <p:spPr>
          <a:xfrm>
            <a:off x="4712039" y="3612930"/>
            <a:ext cx="470735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Rich User Interface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oes not require strict User RBAC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High effort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Typically, Catalog servers only stable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envs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imited Infrastructure change tracking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Environment inconsistency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4107A7B-4659-3DA1-E6C3-2CD4A298AB78}"/>
              </a:ext>
            </a:extLst>
          </p:cNvPr>
          <p:cNvSpPr txBox="1"/>
          <p:nvPr/>
        </p:nvSpPr>
        <p:spPr>
          <a:xfrm>
            <a:off x="2527007" y="5721446"/>
            <a:ext cx="1652312" cy="369332"/>
          </a:xfrm>
          <a:custGeom>
            <a:avLst/>
            <a:gdLst>
              <a:gd name="connsiteX0" fmla="*/ 0 w 1652312"/>
              <a:gd name="connsiteY0" fmla="*/ 0 h 369332"/>
              <a:gd name="connsiteX1" fmla="*/ 534248 w 1652312"/>
              <a:gd name="connsiteY1" fmla="*/ 0 h 369332"/>
              <a:gd name="connsiteX2" fmla="*/ 1035449 w 1652312"/>
              <a:gd name="connsiteY2" fmla="*/ 0 h 369332"/>
              <a:gd name="connsiteX3" fmla="*/ 1652312 w 1652312"/>
              <a:gd name="connsiteY3" fmla="*/ 0 h 369332"/>
              <a:gd name="connsiteX4" fmla="*/ 1652312 w 1652312"/>
              <a:gd name="connsiteY4" fmla="*/ 369332 h 369332"/>
              <a:gd name="connsiteX5" fmla="*/ 1134588 w 1652312"/>
              <a:gd name="connsiteY5" fmla="*/ 369332 h 369332"/>
              <a:gd name="connsiteX6" fmla="*/ 550771 w 1652312"/>
              <a:gd name="connsiteY6" fmla="*/ 369332 h 369332"/>
              <a:gd name="connsiteX7" fmla="*/ 0 w 1652312"/>
              <a:gd name="connsiteY7" fmla="*/ 369332 h 369332"/>
              <a:gd name="connsiteX8" fmla="*/ 0 w 165231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312" h="369332" extrusionOk="0">
                <a:moveTo>
                  <a:pt x="0" y="0"/>
                </a:moveTo>
                <a:cubicBezTo>
                  <a:pt x="111506" y="-14757"/>
                  <a:pt x="312422" y="35711"/>
                  <a:pt x="534248" y="0"/>
                </a:cubicBezTo>
                <a:cubicBezTo>
                  <a:pt x="756074" y="-35711"/>
                  <a:pt x="907398" y="21459"/>
                  <a:pt x="1035449" y="0"/>
                </a:cubicBezTo>
                <a:cubicBezTo>
                  <a:pt x="1163500" y="-21459"/>
                  <a:pt x="1428848" y="17889"/>
                  <a:pt x="1652312" y="0"/>
                </a:cubicBezTo>
                <a:cubicBezTo>
                  <a:pt x="1687900" y="113493"/>
                  <a:pt x="1625505" y="197069"/>
                  <a:pt x="1652312" y="369332"/>
                </a:cubicBezTo>
                <a:cubicBezTo>
                  <a:pt x="1474792" y="394933"/>
                  <a:pt x="1275693" y="319503"/>
                  <a:pt x="1134588" y="369332"/>
                </a:cubicBezTo>
                <a:cubicBezTo>
                  <a:pt x="993483" y="419161"/>
                  <a:pt x="737018" y="333735"/>
                  <a:pt x="550771" y="369332"/>
                </a:cubicBezTo>
                <a:cubicBezTo>
                  <a:pt x="364524" y="404929"/>
                  <a:pt x="174422" y="35167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CE763BF-921A-7931-8A22-E9B5757D53DC}"/>
              </a:ext>
            </a:extLst>
          </p:cNvPr>
          <p:cNvGrpSpPr/>
          <p:nvPr/>
        </p:nvGrpSpPr>
        <p:grpSpPr>
          <a:xfrm>
            <a:off x="4792252" y="1857073"/>
            <a:ext cx="1745921" cy="1751701"/>
            <a:chOff x="2722159" y="1020348"/>
            <a:chExt cx="1745921" cy="1751701"/>
          </a:xfrm>
        </p:grpSpPr>
        <p:pic>
          <p:nvPicPr>
            <p:cNvPr id="7" name="Picture 2" descr="ServiceNow Logo and symbol, meaning, history, PNG">
              <a:extLst>
                <a:ext uri="{FF2B5EF4-FFF2-40B4-BE49-F238E27FC236}">
                  <a16:creationId xmlns:a16="http://schemas.microsoft.com/office/drawing/2014/main" id="{B5D609C4-50F1-0052-49DA-C0418C750F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2159" y="1020348"/>
              <a:ext cx="1745921" cy="1098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>
              <a:extLst>
                <a:ext uri="{FF2B5EF4-FFF2-40B4-BE49-F238E27FC236}">
                  <a16:creationId xmlns:a16="http://schemas.microsoft.com/office/drawing/2014/main" id="{3559A66C-F77E-E0D5-0A09-4691F0F483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3275" y="1597264"/>
              <a:ext cx="1124438" cy="11747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75B5DCD4-0EE4-E70B-4B0A-BA499002F635}"/>
              </a:ext>
            </a:extLst>
          </p:cNvPr>
          <p:cNvSpPr/>
          <p:nvPr/>
        </p:nvSpPr>
        <p:spPr>
          <a:xfrm>
            <a:off x="6035691" y="2896409"/>
            <a:ext cx="627061" cy="258908"/>
          </a:xfrm>
          <a:custGeom>
            <a:avLst/>
            <a:gdLst>
              <a:gd name="connsiteX0" fmla="*/ 0 w 627061"/>
              <a:gd name="connsiteY0" fmla="*/ 64727 h 258908"/>
              <a:gd name="connsiteX1" fmla="*/ 497607 w 627061"/>
              <a:gd name="connsiteY1" fmla="*/ 64727 h 258908"/>
              <a:gd name="connsiteX2" fmla="*/ 497607 w 627061"/>
              <a:gd name="connsiteY2" fmla="*/ 0 h 258908"/>
              <a:gd name="connsiteX3" fmla="*/ 627061 w 627061"/>
              <a:gd name="connsiteY3" fmla="*/ 129454 h 258908"/>
              <a:gd name="connsiteX4" fmla="*/ 497607 w 627061"/>
              <a:gd name="connsiteY4" fmla="*/ 258908 h 258908"/>
              <a:gd name="connsiteX5" fmla="*/ 497607 w 627061"/>
              <a:gd name="connsiteY5" fmla="*/ 194181 h 258908"/>
              <a:gd name="connsiteX6" fmla="*/ 0 w 627061"/>
              <a:gd name="connsiteY6" fmla="*/ 194181 h 258908"/>
              <a:gd name="connsiteX7" fmla="*/ 0 w 627061"/>
              <a:gd name="connsiteY7" fmla="*/ 64727 h 258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7061" h="258908" extrusionOk="0">
                <a:moveTo>
                  <a:pt x="0" y="64727"/>
                </a:moveTo>
                <a:cubicBezTo>
                  <a:pt x="140017" y="70790"/>
                  <a:pt x="366012" y="88159"/>
                  <a:pt x="497607" y="64727"/>
                </a:cubicBezTo>
                <a:cubicBezTo>
                  <a:pt x="498355" y="38492"/>
                  <a:pt x="500366" y="23257"/>
                  <a:pt x="497607" y="0"/>
                </a:cubicBezTo>
                <a:cubicBezTo>
                  <a:pt x="558378" y="53661"/>
                  <a:pt x="589654" y="86366"/>
                  <a:pt x="627061" y="129454"/>
                </a:cubicBezTo>
                <a:cubicBezTo>
                  <a:pt x="568423" y="178529"/>
                  <a:pt x="531930" y="221212"/>
                  <a:pt x="497607" y="258908"/>
                </a:cubicBezTo>
                <a:cubicBezTo>
                  <a:pt x="496755" y="243326"/>
                  <a:pt x="500500" y="223747"/>
                  <a:pt x="497607" y="194181"/>
                </a:cubicBezTo>
                <a:cubicBezTo>
                  <a:pt x="359593" y="197142"/>
                  <a:pt x="226887" y="209398"/>
                  <a:pt x="0" y="194181"/>
                </a:cubicBezTo>
                <a:cubicBezTo>
                  <a:pt x="5989" y="163206"/>
                  <a:pt x="-665" y="104524"/>
                  <a:pt x="0" y="6472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BEC0606-E289-99F4-D953-8964D4A41E78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9" name="Rectángulo redondeado 14">
              <a:extLst>
                <a:ext uri="{FF2B5EF4-FFF2-40B4-BE49-F238E27FC236}">
                  <a16:creationId xmlns:a16="http://schemas.microsoft.com/office/drawing/2014/main" id="{F70CA8ED-E9CD-35A7-9976-803DCBE7957C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0" name="Rectángulo 12">
              <a:extLst>
                <a:ext uri="{FF2B5EF4-FFF2-40B4-BE49-F238E27FC236}">
                  <a16:creationId xmlns:a16="http://schemas.microsoft.com/office/drawing/2014/main" id="{5238D716-7946-515A-FEFC-AECAFB4795C6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using Service Catalo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50555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4"/>
            <a:ext cx="11063515" cy="4183289"/>
          </a:xfrm>
        </p:spPr>
        <p:txBody>
          <a:bodyPr>
            <a:noAutofit/>
          </a:bodyPr>
          <a:lstStyle/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Probably there are ton of other considerations, but the point is…</a:t>
            </a:r>
          </a:p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here are Pros and Cons in every model…</a:t>
            </a:r>
          </a:p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So hybrid approach might be necessary</a:t>
            </a:r>
          </a:p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What if … there was a tool that fits all scenarios….</a:t>
            </a:r>
          </a:p>
          <a:p>
            <a:pPr lvl="1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upports Pipelines</a:t>
            </a:r>
          </a:p>
          <a:p>
            <a:pPr lvl="1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rovides Rich UI</a:t>
            </a:r>
          </a:p>
          <a:p>
            <a:pPr lvl="1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Is reusable by other Templates</a:t>
            </a:r>
          </a:p>
          <a:p>
            <a:pPr lvl="1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Integrates with other systems via API</a:t>
            </a:r>
          </a:p>
          <a:p>
            <a:pPr marL="0" indent="0">
              <a:buNone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et's check Azure Template Specs…</a:t>
            </a:r>
          </a:p>
          <a:p>
            <a:pPr marL="0" indent="0">
              <a:buNone/>
            </a:pP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3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11DCE3D-ECFD-44F8-D6A2-55A2829327CA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6" name="Rectángulo redondeado 14">
              <a:extLst>
                <a:ext uri="{FF2B5EF4-FFF2-40B4-BE49-F238E27FC236}">
                  <a16:creationId xmlns:a16="http://schemas.microsoft.com/office/drawing/2014/main" id="{63498B4E-1FF6-0F62-C893-17F661942C40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Rectángulo 12">
              <a:extLst>
                <a:ext uri="{FF2B5EF4-FFF2-40B4-BE49-F238E27FC236}">
                  <a16:creationId xmlns:a16="http://schemas.microsoft.com/office/drawing/2014/main" id="{D268DA78-4887-ADDC-9F33-A8575C2D091E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fr-FR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nfrastructure in </a:t>
              </a:r>
              <a:r>
                <a:rPr lang="fr-FR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complex</a:t>
              </a:r>
              <a:r>
                <a:rPr lang="fr-FR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environnements</a:t>
              </a:r>
              <a:endPara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0299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Template Spec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3102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User Interfac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Segoe UI" panose="020B0502040204020203" pitchFamily="34" charset="0"/>
                <a:cs typeface="Segoe UI" panose="020B0502040204020203" pitchFamily="34" charset="0"/>
              </a:rPr>
              <a:t>Deployment Options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omposition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explore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4F0400-51F6-DEFA-BF32-6C2CE7E69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307" y="1245126"/>
            <a:ext cx="3660233" cy="418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0630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Azure resource type for storing an ARM/Bicep template for later deployment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BA130D8-B452-933E-E783-2365E14A4B0B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C88A7EA-D065-DAD9-A4B5-C03B53249F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17C7BDF-6FB0-E93F-5851-8D3F4AF1E4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C2B8AE2-14DC-AD23-2919-F06DDE649F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BB37216-136E-A61C-B974-E5890833BF4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ub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972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bicepModule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6195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templateSpec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...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3471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I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433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D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2053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65" name="Arrow: Right 2064">
            <a:extLst>
              <a:ext uri="{FF2B5EF4-FFF2-40B4-BE49-F238E27FC236}">
                <a16:creationId xmlns:a16="http://schemas.microsoft.com/office/drawing/2014/main" id="{554707AD-820D-59B0-2BE1-998BA127E0F9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66" name="Arrow: Right 2065">
            <a:extLst>
              <a:ext uri="{FF2B5EF4-FFF2-40B4-BE49-F238E27FC236}">
                <a16:creationId xmlns:a16="http://schemas.microsoft.com/office/drawing/2014/main" id="{C47B7FEE-892C-6CDB-2809-01030A8B509C}"/>
              </a:ext>
            </a:extLst>
          </p:cNvPr>
          <p:cNvSpPr/>
          <p:nvPr/>
        </p:nvSpPr>
        <p:spPr>
          <a:xfrm>
            <a:off x="9661135" y="4954027"/>
            <a:ext cx="259818" cy="184259"/>
          </a:xfrm>
          <a:custGeom>
            <a:avLst/>
            <a:gdLst>
              <a:gd name="connsiteX0" fmla="*/ 0 w 259818"/>
              <a:gd name="connsiteY0" fmla="*/ 46065 h 184259"/>
              <a:gd name="connsiteX1" fmla="*/ 167689 w 259818"/>
              <a:gd name="connsiteY1" fmla="*/ 46065 h 184259"/>
              <a:gd name="connsiteX2" fmla="*/ 167689 w 259818"/>
              <a:gd name="connsiteY2" fmla="*/ 0 h 184259"/>
              <a:gd name="connsiteX3" fmla="*/ 259818 w 259818"/>
              <a:gd name="connsiteY3" fmla="*/ 92130 h 184259"/>
              <a:gd name="connsiteX4" fmla="*/ 167689 w 259818"/>
              <a:gd name="connsiteY4" fmla="*/ 184259 h 184259"/>
              <a:gd name="connsiteX5" fmla="*/ 167689 w 259818"/>
              <a:gd name="connsiteY5" fmla="*/ 138194 h 184259"/>
              <a:gd name="connsiteX6" fmla="*/ 0 w 259818"/>
              <a:gd name="connsiteY6" fmla="*/ 138194 h 184259"/>
              <a:gd name="connsiteX7" fmla="*/ 0 w 259818"/>
              <a:gd name="connsiteY7" fmla="*/ 46065 h 18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818" h="184259" extrusionOk="0">
                <a:moveTo>
                  <a:pt x="0" y="46065"/>
                </a:moveTo>
                <a:cubicBezTo>
                  <a:pt x="50607" y="40808"/>
                  <a:pt x="131763" y="52407"/>
                  <a:pt x="167689" y="46065"/>
                </a:cubicBezTo>
                <a:cubicBezTo>
                  <a:pt x="169238" y="28750"/>
                  <a:pt x="168475" y="13679"/>
                  <a:pt x="167689" y="0"/>
                </a:cubicBezTo>
                <a:cubicBezTo>
                  <a:pt x="188003" y="23551"/>
                  <a:pt x="230479" y="55820"/>
                  <a:pt x="259818" y="92130"/>
                </a:cubicBezTo>
                <a:cubicBezTo>
                  <a:pt x="233418" y="116514"/>
                  <a:pt x="212381" y="145655"/>
                  <a:pt x="167689" y="184259"/>
                </a:cubicBezTo>
                <a:cubicBezTo>
                  <a:pt x="165537" y="165801"/>
                  <a:pt x="166111" y="152551"/>
                  <a:pt x="167689" y="138194"/>
                </a:cubicBezTo>
                <a:cubicBezTo>
                  <a:pt x="88657" y="138007"/>
                  <a:pt x="51142" y="137500"/>
                  <a:pt x="0" y="138194"/>
                </a:cubicBezTo>
                <a:cubicBezTo>
                  <a:pt x="-2375" y="92330"/>
                  <a:pt x="-3557" y="88170"/>
                  <a:pt x="0" y="46065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69" name="Group 2068">
            <a:extLst>
              <a:ext uri="{FF2B5EF4-FFF2-40B4-BE49-F238E27FC236}">
                <a16:creationId xmlns:a16="http://schemas.microsoft.com/office/drawing/2014/main" id="{056010CF-4FB7-72EA-11D2-141139A127B6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7812AF3-C333-6385-08C1-BC8FB09934C8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2061" name="Picture 2060">
                <a:extLst>
                  <a:ext uri="{FF2B5EF4-FFF2-40B4-BE49-F238E27FC236}">
                    <a16:creationId xmlns:a16="http://schemas.microsoft.com/office/drawing/2014/main" id="{0EA46D97-700E-B7C4-AD88-7CD9A56E66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2" name="Picture 2061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45C70D13-C710-067D-62BB-2C1A1DE2D1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2067" name="Rectangle: Rounded Corners 2066">
              <a:extLst>
                <a:ext uri="{FF2B5EF4-FFF2-40B4-BE49-F238E27FC236}">
                  <a16:creationId xmlns:a16="http://schemas.microsoft.com/office/drawing/2014/main" id="{289D8543-FB4B-2075-CC01-036ACCD94B0F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21F7DAA-29B5-32E7-431A-D3A599D8366F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16" name="Rectángulo redondeado 14">
              <a:extLst>
                <a:ext uri="{FF2B5EF4-FFF2-40B4-BE49-F238E27FC236}">
                  <a16:creationId xmlns:a16="http://schemas.microsoft.com/office/drawing/2014/main" id="{C972281B-3F02-91B9-2257-D06A6C079C63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ángulo 12">
              <a:extLst>
                <a:ext uri="{FF2B5EF4-FFF2-40B4-BE49-F238E27FC236}">
                  <a16:creationId xmlns:a16="http://schemas.microsoft.com/office/drawing/2014/main" id="{CE1FD935-8CB2-4CC6-5CEA-21D2DE79A592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30376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071" y="1507055"/>
            <a:ext cx="9725984" cy="69455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y default, the Portal will create a simple user experience. To provide a richer, more robust experience you can create your own for Azure Portal deployments.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972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bicepModule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5794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templateSpec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3471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I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433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D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2053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1492CF-C318-1C39-AB36-E7509D4A782A}"/>
              </a:ext>
            </a:extLst>
          </p:cNvPr>
          <p:cNvSpPr txBox="1"/>
          <p:nvPr/>
        </p:nvSpPr>
        <p:spPr>
          <a:xfrm>
            <a:off x="630962" y="4346981"/>
            <a:ext cx="3677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templateSpec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/&lt;name&gt;.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ui.json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" name="Picture 12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23621939-9A58-F6EF-A9AD-C5EBF9FB6C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6CC43BA-1AD4-5E41-8824-048E6EB82BF1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22D5DCA-C5D2-2841-8432-314B07E4377F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613AD76-FF56-9D30-94FB-8009D3A31EB5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BF59936-22B5-CD21-A46C-D65F1BBFA4C2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44D93E-75BD-25D4-DC4A-3F4D2F641C07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276303E-E993-7E2D-B7E2-691DFBAB39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3D224C1-68BD-D277-D914-D2ABE35692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7E65C55-E683-E636-A545-7CA58D5E09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8C8C5F5-3012-6AF6-F015-9FE9157C566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00B050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ub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DE1BAC05-780A-F182-180D-2016DD9E0341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842B163-C024-2021-2D8C-46F8569847FD}"/>
              </a:ext>
            </a:extLst>
          </p:cNvPr>
          <p:cNvSpPr/>
          <p:nvPr/>
        </p:nvSpPr>
        <p:spPr>
          <a:xfrm rot="3480107">
            <a:off x="9461353" y="5240562"/>
            <a:ext cx="388315" cy="237515"/>
          </a:xfrm>
          <a:custGeom>
            <a:avLst/>
            <a:gdLst>
              <a:gd name="connsiteX0" fmla="*/ 0 w 388315"/>
              <a:gd name="connsiteY0" fmla="*/ 59379 h 237515"/>
              <a:gd name="connsiteX1" fmla="*/ 269558 w 388315"/>
              <a:gd name="connsiteY1" fmla="*/ 59379 h 237515"/>
              <a:gd name="connsiteX2" fmla="*/ 269558 w 388315"/>
              <a:gd name="connsiteY2" fmla="*/ 0 h 237515"/>
              <a:gd name="connsiteX3" fmla="*/ 388315 w 388315"/>
              <a:gd name="connsiteY3" fmla="*/ 118758 h 237515"/>
              <a:gd name="connsiteX4" fmla="*/ 269558 w 388315"/>
              <a:gd name="connsiteY4" fmla="*/ 237515 h 237515"/>
              <a:gd name="connsiteX5" fmla="*/ 269558 w 388315"/>
              <a:gd name="connsiteY5" fmla="*/ 178136 h 237515"/>
              <a:gd name="connsiteX6" fmla="*/ 0 w 388315"/>
              <a:gd name="connsiteY6" fmla="*/ 178136 h 237515"/>
              <a:gd name="connsiteX7" fmla="*/ 0 w 388315"/>
              <a:gd name="connsiteY7" fmla="*/ 59379 h 237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315" h="237515" extrusionOk="0">
                <a:moveTo>
                  <a:pt x="0" y="59379"/>
                </a:moveTo>
                <a:cubicBezTo>
                  <a:pt x="84013" y="65988"/>
                  <a:pt x="142370" y="47335"/>
                  <a:pt x="269558" y="59379"/>
                </a:cubicBezTo>
                <a:cubicBezTo>
                  <a:pt x="269937" y="40183"/>
                  <a:pt x="268562" y="14892"/>
                  <a:pt x="269558" y="0"/>
                </a:cubicBezTo>
                <a:cubicBezTo>
                  <a:pt x="295360" y="26823"/>
                  <a:pt x="335561" y="64179"/>
                  <a:pt x="388315" y="118758"/>
                </a:cubicBezTo>
                <a:cubicBezTo>
                  <a:pt x="331555" y="179519"/>
                  <a:pt x="315368" y="193113"/>
                  <a:pt x="269558" y="237515"/>
                </a:cubicBezTo>
                <a:cubicBezTo>
                  <a:pt x="267723" y="214850"/>
                  <a:pt x="268724" y="204924"/>
                  <a:pt x="269558" y="178136"/>
                </a:cubicBezTo>
                <a:cubicBezTo>
                  <a:pt x="205230" y="169976"/>
                  <a:pt x="56878" y="176706"/>
                  <a:pt x="0" y="178136"/>
                </a:cubicBezTo>
                <a:cubicBezTo>
                  <a:pt x="-4350" y="126511"/>
                  <a:pt x="-3104" y="109427"/>
                  <a:pt x="0" y="59379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DFE13F8-56BF-76AB-11D3-9BEBCBAE163E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D45C24A-4E78-B3B4-1D3A-ECC8C89738DE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F5C73E76-097F-93FD-BEE4-309FC39B7B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33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C2F45153-0012-AAB1-CCDC-5D072D1197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08FC8D2-6733-720A-F151-C5C62EEBDE48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8436" name="Picture 4">
            <a:extLst>
              <a:ext uri="{FF2B5EF4-FFF2-40B4-BE49-F238E27FC236}">
                <a16:creationId xmlns:a16="http://schemas.microsoft.com/office/drawing/2014/main" id="{E3727051-12D4-B553-BCB1-1209A20096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rgbClr val="D01012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0276" y="3516745"/>
            <a:ext cx="621103" cy="574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D20E7B7A-EA64-FFAA-9797-E80EFD4E6070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56E6D33D-3F83-C532-8390-B7E631C09693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ángulo 12">
              <a:extLst>
                <a:ext uri="{FF2B5EF4-FFF2-40B4-BE49-F238E27FC236}">
                  <a16:creationId xmlns:a16="http://schemas.microsoft.com/office/drawing/2014/main" id="{B331E663-7855-F064-A768-F75042FD95C5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42532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20FCB3-B927-171A-59B2-33D943B7C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241" y="1469803"/>
            <a:ext cx="5720600" cy="470668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56F21B-9758-BCAA-A512-A04BF6B33F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5555" y="1469802"/>
            <a:ext cx="5182202" cy="4706681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54DDDE3-F7F2-A65A-C5DC-39B033DFB1FA}"/>
              </a:ext>
            </a:extLst>
          </p:cNvPr>
          <p:cNvSpPr/>
          <p:nvPr/>
        </p:nvSpPr>
        <p:spPr>
          <a:xfrm>
            <a:off x="1605281" y="2469264"/>
            <a:ext cx="1676636" cy="150746"/>
          </a:xfrm>
          <a:custGeom>
            <a:avLst/>
            <a:gdLst>
              <a:gd name="connsiteX0" fmla="*/ 0 w 1676636"/>
              <a:gd name="connsiteY0" fmla="*/ 25125 h 150746"/>
              <a:gd name="connsiteX1" fmla="*/ 25125 w 1676636"/>
              <a:gd name="connsiteY1" fmla="*/ 0 h 150746"/>
              <a:gd name="connsiteX2" fmla="*/ 534726 w 1676636"/>
              <a:gd name="connsiteY2" fmla="*/ 0 h 150746"/>
              <a:gd name="connsiteX3" fmla="*/ 1060591 w 1676636"/>
              <a:gd name="connsiteY3" fmla="*/ 0 h 150746"/>
              <a:gd name="connsiteX4" fmla="*/ 1651511 w 1676636"/>
              <a:gd name="connsiteY4" fmla="*/ 0 h 150746"/>
              <a:gd name="connsiteX5" fmla="*/ 1676636 w 1676636"/>
              <a:gd name="connsiteY5" fmla="*/ 25125 h 150746"/>
              <a:gd name="connsiteX6" fmla="*/ 1676636 w 1676636"/>
              <a:gd name="connsiteY6" fmla="*/ 125621 h 150746"/>
              <a:gd name="connsiteX7" fmla="*/ 1651511 w 1676636"/>
              <a:gd name="connsiteY7" fmla="*/ 150746 h 150746"/>
              <a:gd name="connsiteX8" fmla="*/ 1093118 w 1676636"/>
              <a:gd name="connsiteY8" fmla="*/ 150746 h 150746"/>
              <a:gd name="connsiteX9" fmla="*/ 567254 w 1676636"/>
              <a:gd name="connsiteY9" fmla="*/ 150746 h 150746"/>
              <a:gd name="connsiteX10" fmla="*/ 25125 w 1676636"/>
              <a:gd name="connsiteY10" fmla="*/ 150746 h 150746"/>
              <a:gd name="connsiteX11" fmla="*/ 0 w 1676636"/>
              <a:gd name="connsiteY11" fmla="*/ 125621 h 150746"/>
              <a:gd name="connsiteX12" fmla="*/ 0 w 1676636"/>
              <a:gd name="connsiteY12" fmla="*/ 25125 h 150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76636" h="150746" extrusionOk="0">
                <a:moveTo>
                  <a:pt x="0" y="25125"/>
                </a:moveTo>
                <a:cubicBezTo>
                  <a:pt x="3431" y="11656"/>
                  <a:pt x="10310" y="-1264"/>
                  <a:pt x="25125" y="0"/>
                </a:cubicBezTo>
                <a:cubicBezTo>
                  <a:pt x="134176" y="19185"/>
                  <a:pt x="333028" y="11923"/>
                  <a:pt x="534726" y="0"/>
                </a:cubicBezTo>
                <a:cubicBezTo>
                  <a:pt x="736424" y="-11923"/>
                  <a:pt x="899272" y="-16826"/>
                  <a:pt x="1060591" y="0"/>
                </a:cubicBezTo>
                <a:cubicBezTo>
                  <a:pt x="1221910" y="16826"/>
                  <a:pt x="1447884" y="-2822"/>
                  <a:pt x="1651511" y="0"/>
                </a:cubicBezTo>
                <a:cubicBezTo>
                  <a:pt x="1666258" y="2651"/>
                  <a:pt x="1676695" y="13003"/>
                  <a:pt x="1676636" y="25125"/>
                </a:cubicBezTo>
                <a:cubicBezTo>
                  <a:pt x="1672613" y="56861"/>
                  <a:pt x="1678349" y="84206"/>
                  <a:pt x="1676636" y="125621"/>
                </a:cubicBezTo>
                <a:cubicBezTo>
                  <a:pt x="1677042" y="139877"/>
                  <a:pt x="1663692" y="149018"/>
                  <a:pt x="1651511" y="150746"/>
                </a:cubicBezTo>
                <a:cubicBezTo>
                  <a:pt x="1520561" y="171232"/>
                  <a:pt x="1299191" y="138200"/>
                  <a:pt x="1093118" y="150746"/>
                </a:cubicBezTo>
                <a:cubicBezTo>
                  <a:pt x="887045" y="163292"/>
                  <a:pt x="795837" y="140946"/>
                  <a:pt x="567254" y="150746"/>
                </a:cubicBezTo>
                <a:cubicBezTo>
                  <a:pt x="338671" y="160546"/>
                  <a:pt x="204051" y="140643"/>
                  <a:pt x="25125" y="150746"/>
                </a:cubicBezTo>
                <a:cubicBezTo>
                  <a:pt x="11315" y="151067"/>
                  <a:pt x="1988" y="141834"/>
                  <a:pt x="0" y="125621"/>
                </a:cubicBezTo>
                <a:cubicBezTo>
                  <a:pt x="-1109" y="101133"/>
                  <a:pt x="-3526" y="68542"/>
                  <a:pt x="0" y="25125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08A5DEB-871D-0E77-8EF3-36F71C7E079C}"/>
              </a:ext>
            </a:extLst>
          </p:cNvPr>
          <p:cNvSpPr/>
          <p:nvPr/>
        </p:nvSpPr>
        <p:spPr>
          <a:xfrm>
            <a:off x="2023533" y="2857500"/>
            <a:ext cx="1011767" cy="266700"/>
          </a:xfrm>
          <a:custGeom>
            <a:avLst/>
            <a:gdLst>
              <a:gd name="connsiteX0" fmla="*/ 0 w 1011767"/>
              <a:gd name="connsiteY0" fmla="*/ 44451 h 266700"/>
              <a:gd name="connsiteX1" fmla="*/ 44451 w 1011767"/>
              <a:gd name="connsiteY1" fmla="*/ 0 h 266700"/>
              <a:gd name="connsiteX2" fmla="*/ 487426 w 1011767"/>
              <a:gd name="connsiteY2" fmla="*/ 0 h 266700"/>
              <a:gd name="connsiteX3" fmla="*/ 967316 w 1011767"/>
              <a:gd name="connsiteY3" fmla="*/ 0 h 266700"/>
              <a:gd name="connsiteX4" fmla="*/ 1011767 w 1011767"/>
              <a:gd name="connsiteY4" fmla="*/ 44451 h 266700"/>
              <a:gd name="connsiteX5" fmla="*/ 1011767 w 1011767"/>
              <a:gd name="connsiteY5" fmla="*/ 222249 h 266700"/>
              <a:gd name="connsiteX6" fmla="*/ 967316 w 1011767"/>
              <a:gd name="connsiteY6" fmla="*/ 266700 h 266700"/>
              <a:gd name="connsiteX7" fmla="*/ 487426 w 1011767"/>
              <a:gd name="connsiteY7" fmla="*/ 266700 h 266700"/>
              <a:gd name="connsiteX8" fmla="*/ 44451 w 1011767"/>
              <a:gd name="connsiteY8" fmla="*/ 266700 h 266700"/>
              <a:gd name="connsiteX9" fmla="*/ 0 w 1011767"/>
              <a:gd name="connsiteY9" fmla="*/ 222249 h 266700"/>
              <a:gd name="connsiteX10" fmla="*/ 0 w 1011767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1767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54285" y="-16268"/>
                  <a:pt x="323921" y="-789"/>
                  <a:pt x="487426" y="0"/>
                </a:cubicBezTo>
                <a:cubicBezTo>
                  <a:pt x="650932" y="789"/>
                  <a:pt x="749723" y="-17084"/>
                  <a:pt x="967316" y="0"/>
                </a:cubicBezTo>
                <a:cubicBezTo>
                  <a:pt x="990808" y="4735"/>
                  <a:pt x="1010927" y="20041"/>
                  <a:pt x="1011767" y="44451"/>
                </a:cubicBezTo>
                <a:cubicBezTo>
                  <a:pt x="1007744" y="120342"/>
                  <a:pt x="1007498" y="159694"/>
                  <a:pt x="1011767" y="222249"/>
                </a:cubicBezTo>
                <a:cubicBezTo>
                  <a:pt x="1016225" y="249669"/>
                  <a:pt x="993108" y="265232"/>
                  <a:pt x="967316" y="266700"/>
                </a:cubicBezTo>
                <a:cubicBezTo>
                  <a:pt x="838150" y="262251"/>
                  <a:pt x="662777" y="252701"/>
                  <a:pt x="487426" y="266700"/>
                </a:cubicBezTo>
                <a:cubicBezTo>
                  <a:pt x="312075" y="280700"/>
                  <a:pt x="217483" y="266500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617DFD1-0674-A5D6-815F-8BEAAFD741A4}"/>
              </a:ext>
            </a:extLst>
          </p:cNvPr>
          <p:cNvSpPr/>
          <p:nvPr/>
        </p:nvSpPr>
        <p:spPr>
          <a:xfrm>
            <a:off x="2154767" y="3235738"/>
            <a:ext cx="1748602" cy="1368012"/>
          </a:xfrm>
          <a:custGeom>
            <a:avLst/>
            <a:gdLst>
              <a:gd name="connsiteX0" fmla="*/ 0 w 1748602"/>
              <a:gd name="connsiteY0" fmla="*/ 228007 h 1368012"/>
              <a:gd name="connsiteX1" fmla="*/ 228007 w 1748602"/>
              <a:gd name="connsiteY1" fmla="*/ 0 h 1368012"/>
              <a:gd name="connsiteX2" fmla="*/ 848449 w 1748602"/>
              <a:gd name="connsiteY2" fmla="*/ 0 h 1368012"/>
              <a:gd name="connsiteX3" fmla="*/ 1520595 w 1748602"/>
              <a:gd name="connsiteY3" fmla="*/ 0 h 1368012"/>
              <a:gd name="connsiteX4" fmla="*/ 1748602 w 1748602"/>
              <a:gd name="connsiteY4" fmla="*/ 228007 h 1368012"/>
              <a:gd name="connsiteX5" fmla="*/ 1748602 w 1748602"/>
              <a:gd name="connsiteY5" fmla="*/ 665766 h 1368012"/>
              <a:gd name="connsiteX6" fmla="*/ 1748602 w 1748602"/>
              <a:gd name="connsiteY6" fmla="*/ 1140005 h 1368012"/>
              <a:gd name="connsiteX7" fmla="*/ 1520595 w 1748602"/>
              <a:gd name="connsiteY7" fmla="*/ 1368012 h 1368012"/>
              <a:gd name="connsiteX8" fmla="*/ 861375 w 1748602"/>
              <a:gd name="connsiteY8" fmla="*/ 1368012 h 1368012"/>
              <a:gd name="connsiteX9" fmla="*/ 228007 w 1748602"/>
              <a:gd name="connsiteY9" fmla="*/ 1368012 h 1368012"/>
              <a:gd name="connsiteX10" fmla="*/ 0 w 1748602"/>
              <a:gd name="connsiteY10" fmla="*/ 1140005 h 1368012"/>
              <a:gd name="connsiteX11" fmla="*/ 0 w 1748602"/>
              <a:gd name="connsiteY11" fmla="*/ 684006 h 1368012"/>
              <a:gd name="connsiteX12" fmla="*/ 0 w 1748602"/>
              <a:gd name="connsiteY12" fmla="*/ 228007 h 136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48602" h="1368012" extrusionOk="0">
                <a:moveTo>
                  <a:pt x="0" y="228007"/>
                </a:moveTo>
                <a:cubicBezTo>
                  <a:pt x="29751" y="105615"/>
                  <a:pt x="100119" y="-2641"/>
                  <a:pt x="228007" y="0"/>
                </a:cubicBezTo>
                <a:cubicBezTo>
                  <a:pt x="459341" y="30546"/>
                  <a:pt x="585853" y="15765"/>
                  <a:pt x="848449" y="0"/>
                </a:cubicBezTo>
                <a:cubicBezTo>
                  <a:pt x="1111045" y="-15765"/>
                  <a:pt x="1283194" y="-33242"/>
                  <a:pt x="1520595" y="0"/>
                </a:cubicBezTo>
                <a:cubicBezTo>
                  <a:pt x="1642678" y="17188"/>
                  <a:pt x="1742561" y="103089"/>
                  <a:pt x="1748602" y="228007"/>
                </a:cubicBezTo>
                <a:cubicBezTo>
                  <a:pt x="1737587" y="388882"/>
                  <a:pt x="1739103" y="514271"/>
                  <a:pt x="1748602" y="665766"/>
                </a:cubicBezTo>
                <a:cubicBezTo>
                  <a:pt x="1758101" y="817261"/>
                  <a:pt x="1728584" y="1005315"/>
                  <a:pt x="1748602" y="1140005"/>
                </a:cubicBezTo>
                <a:cubicBezTo>
                  <a:pt x="1764642" y="1280971"/>
                  <a:pt x="1637067" y="1358378"/>
                  <a:pt x="1520595" y="1368012"/>
                </a:cubicBezTo>
                <a:cubicBezTo>
                  <a:pt x="1229643" y="1364386"/>
                  <a:pt x="1171340" y="1392641"/>
                  <a:pt x="861375" y="1368012"/>
                </a:cubicBezTo>
                <a:cubicBezTo>
                  <a:pt x="551410" y="1343383"/>
                  <a:pt x="372411" y="1337440"/>
                  <a:pt x="228007" y="1368012"/>
                </a:cubicBezTo>
                <a:cubicBezTo>
                  <a:pt x="101699" y="1345953"/>
                  <a:pt x="-23987" y="1258406"/>
                  <a:pt x="0" y="1140005"/>
                </a:cubicBezTo>
                <a:cubicBezTo>
                  <a:pt x="7734" y="918507"/>
                  <a:pt x="-11623" y="776831"/>
                  <a:pt x="0" y="684006"/>
                </a:cubicBezTo>
                <a:cubicBezTo>
                  <a:pt x="11623" y="591181"/>
                  <a:pt x="-18688" y="377756"/>
                  <a:pt x="0" y="228007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5DEF851-EF3F-BE3A-A38E-8DA11BCA868E}"/>
              </a:ext>
            </a:extLst>
          </p:cNvPr>
          <p:cNvSpPr txBox="1"/>
          <p:nvPr/>
        </p:nvSpPr>
        <p:spPr>
          <a:xfrm>
            <a:off x="2970796" y="2847201"/>
            <a:ext cx="461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Tab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3719015-E115-6602-D5A6-CD4ED04FF3FB}"/>
              </a:ext>
            </a:extLst>
          </p:cNvPr>
          <p:cNvSpPr txBox="1"/>
          <p:nvPr/>
        </p:nvSpPr>
        <p:spPr>
          <a:xfrm>
            <a:off x="3833090" y="3719268"/>
            <a:ext cx="885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Input field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C65C423-A189-0D50-087B-FAC0A71500BE}"/>
              </a:ext>
            </a:extLst>
          </p:cNvPr>
          <p:cNvSpPr/>
          <p:nvPr/>
        </p:nvSpPr>
        <p:spPr>
          <a:xfrm>
            <a:off x="1605281" y="5429250"/>
            <a:ext cx="3576318" cy="403448"/>
          </a:xfrm>
          <a:custGeom>
            <a:avLst/>
            <a:gdLst>
              <a:gd name="connsiteX0" fmla="*/ 0 w 3576318"/>
              <a:gd name="connsiteY0" fmla="*/ 67243 h 403448"/>
              <a:gd name="connsiteX1" fmla="*/ 67243 w 3576318"/>
              <a:gd name="connsiteY1" fmla="*/ 0 h 403448"/>
              <a:gd name="connsiteX2" fmla="*/ 686773 w 3576318"/>
              <a:gd name="connsiteY2" fmla="*/ 0 h 403448"/>
              <a:gd name="connsiteX3" fmla="*/ 1340721 w 3576318"/>
              <a:gd name="connsiteY3" fmla="*/ 0 h 403448"/>
              <a:gd name="connsiteX4" fmla="*/ 1960251 w 3576318"/>
              <a:gd name="connsiteY4" fmla="*/ 0 h 403448"/>
              <a:gd name="connsiteX5" fmla="*/ 2683035 w 3576318"/>
              <a:gd name="connsiteY5" fmla="*/ 0 h 403448"/>
              <a:gd name="connsiteX6" fmla="*/ 3509075 w 3576318"/>
              <a:gd name="connsiteY6" fmla="*/ 0 h 403448"/>
              <a:gd name="connsiteX7" fmla="*/ 3576318 w 3576318"/>
              <a:gd name="connsiteY7" fmla="*/ 67243 h 403448"/>
              <a:gd name="connsiteX8" fmla="*/ 3576318 w 3576318"/>
              <a:gd name="connsiteY8" fmla="*/ 336205 h 403448"/>
              <a:gd name="connsiteX9" fmla="*/ 3509075 w 3576318"/>
              <a:gd name="connsiteY9" fmla="*/ 403448 h 403448"/>
              <a:gd name="connsiteX10" fmla="*/ 2751872 w 3576318"/>
              <a:gd name="connsiteY10" fmla="*/ 403448 h 403448"/>
              <a:gd name="connsiteX11" fmla="*/ 2132342 w 3576318"/>
              <a:gd name="connsiteY11" fmla="*/ 403448 h 403448"/>
              <a:gd name="connsiteX12" fmla="*/ 1409557 w 3576318"/>
              <a:gd name="connsiteY12" fmla="*/ 403448 h 403448"/>
              <a:gd name="connsiteX13" fmla="*/ 721191 w 3576318"/>
              <a:gd name="connsiteY13" fmla="*/ 403448 h 403448"/>
              <a:gd name="connsiteX14" fmla="*/ 67243 w 3576318"/>
              <a:gd name="connsiteY14" fmla="*/ 403448 h 403448"/>
              <a:gd name="connsiteX15" fmla="*/ 0 w 3576318"/>
              <a:gd name="connsiteY15" fmla="*/ 336205 h 403448"/>
              <a:gd name="connsiteX16" fmla="*/ 0 w 3576318"/>
              <a:gd name="connsiteY16" fmla="*/ 67243 h 403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76318" h="403448" extrusionOk="0">
                <a:moveTo>
                  <a:pt x="0" y="67243"/>
                </a:moveTo>
                <a:cubicBezTo>
                  <a:pt x="2629" y="30418"/>
                  <a:pt x="27170" y="-3950"/>
                  <a:pt x="67243" y="0"/>
                </a:cubicBezTo>
                <a:cubicBezTo>
                  <a:pt x="362639" y="20412"/>
                  <a:pt x="386875" y="21115"/>
                  <a:pt x="686773" y="0"/>
                </a:cubicBezTo>
                <a:cubicBezTo>
                  <a:pt x="986671" y="-21115"/>
                  <a:pt x="1114373" y="3939"/>
                  <a:pt x="1340721" y="0"/>
                </a:cubicBezTo>
                <a:cubicBezTo>
                  <a:pt x="1567069" y="-3939"/>
                  <a:pt x="1713361" y="-22120"/>
                  <a:pt x="1960251" y="0"/>
                </a:cubicBezTo>
                <a:cubicBezTo>
                  <a:pt x="2207141" y="22120"/>
                  <a:pt x="2518982" y="11263"/>
                  <a:pt x="2683035" y="0"/>
                </a:cubicBezTo>
                <a:cubicBezTo>
                  <a:pt x="2847088" y="-11263"/>
                  <a:pt x="3168721" y="5925"/>
                  <a:pt x="3509075" y="0"/>
                </a:cubicBezTo>
                <a:cubicBezTo>
                  <a:pt x="3549557" y="2154"/>
                  <a:pt x="3578828" y="27139"/>
                  <a:pt x="3576318" y="67243"/>
                </a:cubicBezTo>
                <a:cubicBezTo>
                  <a:pt x="3570219" y="137030"/>
                  <a:pt x="3579598" y="257723"/>
                  <a:pt x="3576318" y="336205"/>
                </a:cubicBezTo>
                <a:cubicBezTo>
                  <a:pt x="3577716" y="374957"/>
                  <a:pt x="3549754" y="399041"/>
                  <a:pt x="3509075" y="403448"/>
                </a:cubicBezTo>
                <a:cubicBezTo>
                  <a:pt x="3355616" y="436227"/>
                  <a:pt x="3042643" y="394590"/>
                  <a:pt x="2751872" y="403448"/>
                </a:cubicBezTo>
                <a:cubicBezTo>
                  <a:pt x="2461101" y="412306"/>
                  <a:pt x="2363110" y="419379"/>
                  <a:pt x="2132342" y="403448"/>
                </a:cubicBezTo>
                <a:cubicBezTo>
                  <a:pt x="1901574" y="387518"/>
                  <a:pt x="1588134" y="403772"/>
                  <a:pt x="1409557" y="403448"/>
                </a:cubicBezTo>
                <a:cubicBezTo>
                  <a:pt x="1230981" y="403124"/>
                  <a:pt x="1015236" y="384276"/>
                  <a:pt x="721191" y="403448"/>
                </a:cubicBezTo>
                <a:cubicBezTo>
                  <a:pt x="427146" y="422620"/>
                  <a:pt x="357514" y="389432"/>
                  <a:pt x="67243" y="403448"/>
                </a:cubicBezTo>
                <a:cubicBezTo>
                  <a:pt x="26268" y="408169"/>
                  <a:pt x="-3080" y="379571"/>
                  <a:pt x="0" y="336205"/>
                </a:cubicBezTo>
                <a:cubicBezTo>
                  <a:pt x="-3421" y="265999"/>
                  <a:pt x="12693" y="128349"/>
                  <a:pt x="0" y="67243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1B6037-1494-A207-4634-923898AB05B4}"/>
              </a:ext>
            </a:extLst>
          </p:cNvPr>
          <p:cNvSpPr txBox="1"/>
          <p:nvPr/>
        </p:nvSpPr>
        <p:spPr>
          <a:xfrm>
            <a:off x="5113250" y="5492474"/>
            <a:ext cx="1491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Deployment control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D9CC59-8699-992F-BE1E-51F3CD87059F}"/>
              </a:ext>
            </a:extLst>
          </p:cNvPr>
          <p:cNvSpPr txBox="1"/>
          <p:nvPr/>
        </p:nvSpPr>
        <p:spPr>
          <a:xfrm>
            <a:off x="2586478" y="5138392"/>
            <a:ext cx="28138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input fields to template param binding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8B0551B-2A0E-6607-B188-875AFD437306}"/>
              </a:ext>
            </a:extLst>
          </p:cNvPr>
          <p:cNvSpPr/>
          <p:nvPr/>
        </p:nvSpPr>
        <p:spPr>
          <a:xfrm>
            <a:off x="1605281" y="5148691"/>
            <a:ext cx="1014438" cy="266700"/>
          </a:xfrm>
          <a:custGeom>
            <a:avLst/>
            <a:gdLst>
              <a:gd name="connsiteX0" fmla="*/ 0 w 1014438"/>
              <a:gd name="connsiteY0" fmla="*/ 44451 h 266700"/>
              <a:gd name="connsiteX1" fmla="*/ 44451 w 1014438"/>
              <a:gd name="connsiteY1" fmla="*/ 0 h 266700"/>
              <a:gd name="connsiteX2" fmla="*/ 488708 w 1014438"/>
              <a:gd name="connsiteY2" fmla="*/ 0 h 266700"/>
              <a:gd name="connsiteX3" fmla="*/ 969987 w 1014438"/>
              <a:gd name="connsiteY3" fmla="*/ 0 h 266700"/>
              <a:gd name="connsiteX4" fmla="*/ 1014438 w 1014438"/>
              <a:gd name="connsiteY4" fmla="*/ 44451 h 266700"/>
              <a:gd name="connsiteX5" fmla="*/ 1014438 w 1014438"/>
              <a:gd name="connsiteY5" fmla="*/ 222249 h 266700"/>
              <a:gd name="connsiteX6" fmla="*/ 969987 w 1014438"/>
              <a:gd name="connsiteY6" fmla="*/ 266700 h 266700"/>
              <a:gd name="connsiteX7" fmla="*/ 488708 w 1014438"/>
              <a:gd name="connsiteY7" fmla="*/ 266700 h 266700"/>
              <a:gd name="connsiteX8" fmla="*/ 44451 w 1014438"/>
              <a:gd name="connsiteY8" fmla="*/ 266700 h 266700"/>
              <a:gd name="connsiteX9" fmla="*/ 0 w 1014438"/>
              <a:gd name="connsiteY9" fmla="*/ 222249 h 266700"/>
              <a:gd name="connsiteX10" fmla="*/ 0 w 1014438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4438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32134" y="-18722"/>
                  <a:pt x="274982" y="-2067"/>
                  <a:pt x="488708" y="0"/>
                </a:cubicBezTo>
                <a:cubicBezTo>
                  <a:pt x="702434" y="2067"/>
                  <a:pt x="743985" y="1199"/>
                  <a:pt x="969987" y="0"/>
                </a:cubicBezTo>
                <a:cubicBezTo>
                  <a:pt x="993479" y="4735"/>
                  <a:pt x="1013598" y="20041"/>
                  <a:pt x="1014438" y="44451"/>
                </a:cubicBezTo>
                <a:cubicBezTo>
                  <a:pt x="1010415" y="120342"/>
                  <a:pt x="1010169" y="159694"/>
                  <a:pt x="1014438" y="222249"/>
                </a:cubicBezTo>
                <a:cubicBezTo>
                  <a:pt x="1018896" y="249669"/>
                  <a:pt x="995779" y="265232"/>
                  <a:pt x="969987" y="266700"/>
                </a:cubicBezTo>
                <a:cubicBezTo>
                  <a:pt x="841458" y="275866"/>
                  <a:pt x="691781" y="249425"/>
                  <a:pt x="488708" y="266700"/>
                </a:cubicBezTo>
                <a:cubicBezTo>
                  <a:pt x="285635" y="283975"/>
                  <a:pt x="135153" y="282324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2E18948-71E6-C760-B2DF-A04559E11F56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3421702F-6C4A-7591-7AAE-ACCBCC4010E1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Rectángulo 12">
              <a:extLst>
                <a:ext uri="{FF2B5EF4-FFF2-40B4-BE49-F238E27FC236}">
                  <a16:creationId xmlns:a16="http://schemas.microsoft.com/office/drawing/2014/main" id="{8634C993-AC19-7753-277E-5184BF73B426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 stru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30609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DF1FF9-8D21-4BEE-188A-20EA6F0DC84E}"/>
              </a:ext>
            </a:extLst>
          </p:cNvPr>
          <p:cNvSpPr txBox="1"/>
          <p:nvPr/>
        </p:nvSpPr>
        <p:spPr>
          <a:xfrm>
            <a:off x="723900" y="2135496"/>
            <a:ext cx="279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User interface elements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3EEFB4-519E-2388-5E11-A6BBF42B0381}"/>
              </a:ext>
            </a:extLst>
          </p:cNvPr>
          <p:cNvSpPr txBox="1"/>
          <p:nvPr/>
        </p:nvSpPr>
        <p:spPr>
          <a:xfrm>
            <a:off x="3435350" y="2135496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User interface function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9DE0D97-D88B-9357-F4A3-C5642D04E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2846" y="2504828"/>
            <a:ext cx="2114845" cy="255305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7F14E0-9E48-27BE-C7A6-ABC41DDEC1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900" y="2514354"/>
            <a:ext cx="1667108" cy="254353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B860586-8C02-45AB-4E86-A2D8EF4A4F6D}"/>
              </a:ext>
            </a:extLst>
          </p:cNvPr>
          <p:cNvSpPr txBox="1"/>
          <p:nvPr/>
        </p:nvSpPr>
        <p:spPr>
          <a:xfrm>
            <a:off x="6203950" y="2135496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Sandbox utility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B45B99-A2A3-358F-047B-9584E1CB3C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3652" y="2571505"/>
            <a:ext cx="5002998" cy="307945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958BE1F-5E33-3763-83F8-66202710C9FD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1F794769-A156-6645-253C-0AD02E3A845C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ángulo 12">
              <a:extLst>
                <a:ext uri="{FF2B5EF4-FFF2-40B4-BE49-F238E27FC236}">
                  <a16:creationId xmlns:a16="http://schemas.microsoft.com/office/drawing/2014/main" id="{C0F0B456-CA04-F762-256E-C13F179DA6B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 elem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77188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The: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Microsoft.Solutions.ArmApiControl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3CA7DC-0EF1-0E6B-D768-CC093E21AE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242" y="2269040"/>
            <a:ext cx="8194754" cy="408731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DDB5D9B-725A-037B-B5F0-4E9CFC77EF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0884" y="2050814"/>
            <a:ext cx="6532345" cy="718248"/>
          </a:xfrm>
          <a:custGeom>
            <a:avLst/>
            <a:gdLst>
              <a:gd name="connsiteX0" fmla="*/ 0 w 6532345"/>
              <a:gd name="connsiteY0" fmla="*/ 0 h 718248"/>
              <a:gd name="connsiteX1" fmla="*/ 457264 w 6532345"/>
              <a:gd name="connsiteY1" fmla="*/ 0 h 718248"/>
              <a:gd name="connsiteX2" fmla="*/ 1241146 w 6532345"/>
              <a:gd name="connsiteY2" fmla="*/ 0 h 718248"/>
              <a:gd name="connsiteX3" fmla="*/ 1959704 w 6532345"/>
              <a:gd name="connsiteY3" fmla="*/ 0 h 718248"/>
              <a:gd name="connsiteX4" fmla="*/ 2416968 w 6532345"/>
              <a:gd name="connsiteY4" fmla="*/ 0 h 718248"/>
              <a:gd name="connsiteX5" fmla="*/ 3004879 w 6532345"/>
              <a:gd name="connsiteY5" fmla="*/ 0 h 718248"/>
              <a:gd name="connsiteX6" fmla="*/ 3788760 w 6532345"/>
              <a:gd name="connsiteY6" fmla="*/ 0 h 718248"/>
              <a:gd name="connsiteX7" fmla="*/ 4441995 w 6532345"/>
              <a:gd name="connsiteY7" fmla="*/ 0 h 718248"/>
              <a:gd name="connsiteX8" fmla="*/ 5160553 w 6532345"/>
              <a:gd name="connsiteY8" fmla="*/ 0 h 718248"/>
              <a:gd name="connsiteX9" fmla="*/ 5748464 w 6532345"/>
              <a:gd name="connsiteY9" fmla="*/ 0 h 718248"/>
              <a:gd name="connsiteX10" fmla="*/ 6532345 w 6532345"/>
              <a:gd name="connsiteY10" fmla="*/ 0 h 718248"/>
              <a:gd name="connsiteX11" fmla="*/ 6532345 w 6532345"/>
              <a:gd name="connsiteY11" fmla="*/ 373489 h 718248"/>
              <a:gd name="connsiteX12" fmla="*/ 6532345 w 6532345"/>
              <a:gd name="connsiteY12" fmla="*/ 718248 h 718248"/>
              <a:gd name="connsiteX13" fmla="*/ 6075081 w 6532345"/>
              <a:gd name="connsiteY13" fmla="*/ 718248 h 718248"/>
              <a:gd name="connsiteX14" fmla="*/ 5617817 w 6532345"/>
              <a:gd name="connsiteY14" fmla="*/ 718248 h 718248"/>
              <a:gd name="connsiteX15" fmla="*/ 4899259 w 6532345"/>
              <a:gd name="connsiteY15" fmla="*/ 718248 h 718248"/>
              <a:gd name="connsiteX16" fmla="*/ 4441995 w 6532345"/>
              <a:gd name="connsiteY16" fmla="*/ 718248 h 718248"/>
              <a:gd name="connsiteX17" fmla="*/ 3788760 w 6532345"/>
              <a:gd name="connsiteY17" fmla="*/ 718248 h 718248"/>
              <a:gd name="connsiteX18" fmla="*/ 3266173 w 6532345"/>
              <a:gd name="connsiteY18" fmla="*/ 718248 h 718248"/>
              <a:gd name="connsiteX19" fmla="*/ 2612938 w 6532345"/>
              <a:gd name="connsiteY19" fmla="*/ 718248 h 718248"/>
              <a:gd name="connsiteX20" fmla="*/ 1959704 w 6532345"/>
              <a:gd name="connsiteY20" fmla="*/ 718248 h 718248"/>
              <a:gd name="connsiteX21" fmla="*/ 1306469 w 6532345"/>
              <a:gd name="connsiteY21" fmla="*/ 718248 h 718248"/>
              <a:gd name="connsiteX22" fmla="*/ 653235 w 6532345"/>
              <a:gd name="connsiteY22" fmla="*/ 718248 h 718248"/>
              <a:gd name="connsiteX23" fmla="*/ 0 w 6532345"/>
              <a:gd name="connsiteY23" fmla="*/ 718248 h 718248"/>
              <a:gd name="connsiteX24" fmla="*/ 0 w 6532345"/>
              <a:gd name="connsiteY24" fmla="*/ 351942 h 718248"/>
              <a:gd name="connsiteX25" fmla="*/ 0 w 6532345"/>
              <a:gd name="connsiteY25" fmla="*/ 0 h 718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532345" h="718248" fill="none" extrusionOk="0">
                <a:moveTo>
                  <a:pt x="0" y="0"/>
                </a:moveTo>
                <a:cubicBezTo>
                  <a:pt x="197971" y="-12121"/>
                  <a:pt x="324844" y="6377"/>
                  <a:pt x="457264" y="0"/>
                </a:cubicBezTo>
                <a:cubicBezTo>
                  <a:pt x="589684" y="-6377"/>
                  <a:pt x="898083" y="-25161"/>
                  <a:pt x="1241146" y="0"/>
                </a:cubicBezTo>
                <a:cubicBezTo>
                  <a:pt x="1584209" y="25161"/>
                  <a:pt x="1684252" y="-21654"/>
                  <a:pt x="1959704" y="0"/>
                </a:cubicBezTo>
                <a:cubicBezTo>
                  <a:pt x="2235156" y="21654"/>
                  <a:pt x="2246192" y="10711"/>
                  <a:pt x="2416968" y="0"/>
                </a:cubicBezTo>
                <a:cubicBezTo>
                  <a:pt x="2587744" y="-10711"/>
                  <a:pt x="2765728" y="-24531"/>
                  <a:pt x="3004879" y="0"/>
                </a:cubicBezTo>
                <a:cubicBezTo>
                  <a:pt x="3244030" y="24531"/>
                  <a:pt x="3454257" y="7806"/>
                  <a:pt x="3788760" y="0"/>
                </a:cubicBezTo>
                <a:cubicBezTo>
                  <a:pt x="4123263" y="-7806"/>
                  <a:pt x="4228511" y="22212"/>
                  <a:pt x="4441995" y="0"/>
                </a:cubicBezTo>
                <a:cubicBezTo>
                  <a:pt x="4655479" y="-22212"/>
                  <a:pt x="4813860" y="-8832"/>
                  <a:pt x="5160553" y="0"/>
                </a:cubicBezTo>
                <a:cubicBezTo>
                  <a:pt x="5507246" y="8832"/>
                  <a:pt x="5527021" y="-366"/>
                  <a:pt x="5748464" y="0"/>
                </a:cubicBezTo>
                <a:cubicBezTo>
                  <a:pt x="5969907" y="366"/>
                  <a:pt x="6271852" y="-16183"/>
                  <a:pt x="6532345" y="0"/>
                </a:cubicBezTo>
                <a:cubicBezTo>
                  <a:pt x="6548426" y="146747"/>
                  <a:pt x="6527891" y="189638"/>
                  <a:pt x="6532345" y="373489"/>
                </a:cubicBezTo>
                <a:cubicBezTo>
                  <a:pt x="6536799" y="557340"/>
                  <a:pt x="6519247" y="647548"/>
                  <a:pt x="6532345" y="718248"/>
                </a:cubicBezTo>
                <a:cubicBezTo>
                  <a:pt x="6343580" y="711418"/>
                  <a:pt x="6227463" y="738827"/>
                  <a:pt x="6075081" y="718248"/>
                </a:cubicBezTo>
                <a:cubicBezTo>
                  <a:pt x="5922699" y="697669"/>
                  <a:pt x="5805601" y="726898"/>
                  <a:pt x="5617817" y="718248"/>
                </a:cubicBezTo>
                <a:cubicBezTo>
                  <a:pt x="5430033" y="709598"/>
                  <a:pt x="5069279" y="698793"/>
                  <a:pt x="4899259" y="718248"/>
                </a:cubicBezTo>
                <a:cubicBezTo>
                  <a:pt x="4729239" y="737703"/>
                  <a:pt x="4564655" y="700682"/>
                  <a:pt x="4441995" y="718248"/>
                </a:cubicBezTo>
                <a:cubicBezTo>
                  <a:pt x="4319335" y="735814"/>
                  <a:pt x="3926968" y="717245"/>
                  <a:pt x="3788760" y="718248"/>
                </a:cubicBezTo>
                <a:cubicBezTo>
                  <a:pt x="3650553" y="719251"/>
                  <a:pt x="3437430" y="692771"/>
                  <a:pt x="3266173" y="718248"/>
                </a:cubicBezTo>
                <a:cubicBezTo>
                  <a:pt x="3094916" y="743725"/>
                  <a:pt x="2879554" y="734611"/>
                  <a:pt x="2612938" y="718248"/>
                </a:cubicBezTo>
                <a:cubicBezTo>
                  <a:pt x="2346322" y="701885"/>
                  <a:pt x="2216765" y="687375"/>
                  <a:pt x="1959704" y="718248"/>
                </a:cubicBezTo>
                <a:cubicBezTo>
                  <a:pt x="1702643" y="749121"/>
                  <a:pt x="1448049" y="693305"/>
                  <a:pt x="1306469" y="718248"/>
                </a:cubicBezTo>
                <a:cubicBezTo>
                  <a:pt x="1164890" y="743191"/>
                  <a:pt x="912606" y="735495"/>
                  <a:pt x="653235" y="718248"/>
                </a:cubicBezTo>
                <a:cubicBezTo>
                  <a:pt x="393864" y="701001"/>
                  <a:pt x="226088" y="730118"/>
                  <a:pt x="0" y="718248"/>
                </a:cubicBezTo>
                <a:cubicBezTo>
                  <a:pt x="-3898" y="549209"/>
                  <a:pt x="-14823" y="465192"/>
                  <a:pt x="0" y="351942"/>
                </a:cubicBezTo>
                <a:cubicBezTo>
                  <a:pt x="14823" y="238692"/>
                  <a:pt x="15935" y="101456"/>
                  <a:pt x="0" y="0"/>
                </a:cubicBezTo>
                <a:close/>
              </a:path>
              <a:path w="6532345" h="718248" stroke="0" extrusionOk="0">
                <a:moveTo>
                  <a:pt x="0" y="0"/>
                </a:moveTo>
                <a:cubicBezTo>
                  <a:pt x="194429" y="8462"/>
                  <a:pt x="405765" y="21024"/>
                  <a:pt x="587911" y="0"/>
                </a:cubicBezTo>
                <a:cubicBezTo>
                  <a:pt x="770057" y="-21024"/>
                  <a:pt x="854479" y="-7713"/>
                  <a:pt x="1045175" y="0"/>
                </a:cubicBezTo>
                <a:cubicBezTo>
                  <a:pt x="1235871" y="7713"/>
                  <a:pt x="1459626" y="6673"/>
                  <a:pt x="1829057" y="0"/>
                </a:cubicBezTo>
                <a:cubicBezTo>
                  <a:pt x="2198488" y="-6673"/>
                  <a:pt x="2295586" y="19228"/>
                  <a:pt x="2416968" y="0"/>
                </a:cubicBezTo>
                <a:cubicBezTo>
                  <a:pt x="2538350" y="-19228"/>
                  <a:pt x="2881247" y="2392"/>
                  <a:pt x="3004879" y="0"/>
                </a:cubicBezTo>
                <a:cubicBezTo>
                  <a:pt x="3128511" y="-2392"/>
                  <a:pt x="3579814" y="34014"/>
                  <a:pt x="3788760" y="0"/>
                </a:cubicBezTo>
                <a:cubicBezTo>
                  <a:pt x="3997706" y="-34014"/>
                  <a:pt x="4196689" y="-18108"/>
                  <a:pt x="4311348" y="0"/>
                </a:cubicBezTo>
                <a:cubicBezTo>
                  <a:pt x="4426007" y="18108"/>
                  <a:pt x="4866662" y="4689"/>
                  <a:pt x="5095229" y="0"/>
                </a:cubicBezTo>
                <a:cubicBezTo>
                  <a:pt x="5323796" y="-4689"/>
                  <a:pt x="5516349" y="-32246"/>
                  <a:pt x="5879111" y="0"/>
                </a:cubicBezTo>
                <a:cubicBezTo>
                  <a:pt x="6241873" y="32246"/>
                  <a:pt x="6206409" y="9054"/>
                  <a:pt x="6532345" y="0"/>
                </a:cubicBezTo>
                <a:cubicBezTo>
                  <a:pt x="6525694" y="85121"/>
                  <a:pt x="6539305" y="236873"/>
                  <a:pt x="6532345" y="373489"/>
                </a:cubicBezTo>
                <a:cubicBezTo>
                  <a:pt x="6525385" y="510105"/>
                  <a:pt x="6543401" y="627492"/>
                  <a:pt x="6532345" y="718248"/>
                </a:cubicBezTo>
                <a:cubicBezTo>
                  <a:pt x="6354250" y="707024"/>
                  <a:pt x="6243908" y="719002"/>
                  <a:pt x="6075081" y="718248"/>
                </a:cubicBezTo>
                <a:cubicBezTo>
                  <a:pt x="5906254" y="717494"/>
                  <a:pt x="5476358" y="732448"/>
                  <a:pt x="5291199" y="718248"/>
                </a:cubicBezTo>
                <a:cubicBezTo>
                  <a:pt x="5106040" y="704048"/>
                  <a:pt x="4902361" y="699861"/>
                  <a:pt x="4768612" y="718248"/>
                </a:cubicBezTo>
                <a:cubicBezTo>
                  <a:pt x="4634863" y="736635"/>
                  <a:pt x="4283042" y="740441"/>
                  <a:pt x="4115377" y="718248"/>
                </a:cubicBezTo>
                <a:cubicBezTo>
                  <a:pt x="3947712" y="696055"/>
                  <a:pt x="3664279" y="744074"/>
                  <a:pt x="3331496" y="718248"/>
                </a:cubicBezTo>
                <a:cubicBezTo>
                  <a:pt x="2998713" y="692422"/>
                  <a:pt x="2911806" y="721672"/>
                  <a:pt x="2678261" y="718248"/>
                </a:cubicBezTo>
                <a:cubicBezTo>
                  <a:pt x="2444716" y="714824"/>
                  <a:pt x="2323219" y="725247"/>
                  <a:pt x="2220997" y="718248"/>
                </a:cubicBezTo>
                <a:cubicBezTo>
                  <a:pt x="2118775" y="711249"/>
                  <a:pt x="1815661" y="716877"/>
                  <a:pt x="1698410" y="718248"/>
                </a:cubicBezTo>
                <a:cubicBezTo>
                  <a:pt x="1581159" y="719619"/>
                  <a:pt x="1214472" y="681759"/>
                  <a:pt x="914528" y="718248"/>
                </a:cubicBezTo>
                <a:cubicBezTo>
                  <a:pt x="614584" y="754737"/>
                  <a:pt x="278757" y="741250"/>
                  <a:pt x="0" y="718248"/>
                </a:cubicBezTo>
                <a:cubicBezTo>
                  <a:pt x="15167" y="643226"/>
                  <a:pt x="-15001" y="481967"/>
                  <a:pt x="0" y="373489"/>
                </a:cubicBezTo>
                <a:cubicBezTo>
                  <a:pt x="15001" y="265011"/>
                  <a:pt x="-11257" y="164017"/>
                  <a:pt x="0" y="0"/>
                </a:cubicBezTo>
                <a:close/>
              </a:path>
            </a:pathLst>
          </a:custGeom>
          <a:ln w="25400"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B15284B-B6CA-A03E-68FD-A7FD1607565F}"/>
              </a:ext>
            </a:extLst>
          </p:cNvPr>
          <p:cNvSpPr/>
          <p:nvPr/>
        </p:nvSpPr>
        <p:spPr>
          <a:xfrm>
            <a:off x="1035980" y="5426308"/>
            <a:ext cx="7723016" cy="158518"/>
          </a:xfrm>
          <a:custGeom>
            <a:avLst/>
            <a:gdLst>
              <a:gd name="connsiteX0" fmla="*/ 0 w 7723016"/>
              <a:gd name="connsiteY0" fmla="*/ 26420 h 158518"/>
              <a:gd name="connsiteX1" fmla="*/ 26420 w 7723016"/>
              <a:gd name="connsiteY1" fmla="*/ 0 h 158518"/>
              <a:gd name="connsiteX2" fmla="*/ 570305 w 7723016"/>
              <a:gd name="connsiteY2" fmla="*/ 0 h 158518"/>
              <a:gd name="connsiteX3" fmla="*/ 1190892 w 7723016"/>
              <a:gd name="connsiteY3" fmla="*/ 0 h 158518"/>
              <a:gd name="connsiteX4" fmla="*/ 1734777 w 7723016"/>
              <a:gd name="connsiteY4" fmla="*/ 0 h 158518"/>
              <a:gd name="connsiteX5" fmla="*/ 2508768 w 7723016"/>
              <a:gd name="connsiteY5" fmla="*/ 0 h 158518"/>
              <a:gd name="connsiteX6" fmla="*/ 3282758 w 7723016"/>
              <a:gd name="connsiteY6" fmla="*/ 0 h 158518"/>
              <a:gd name="connsiteX7" fmla="*/ 4133451 w 7723016"/>
              <a:gd name="connsiteY7" fmla="*/ 0 h 158518"/>
              <a:gd name="connsiteX8" fmla="*/ 4754038 w 7723016"/>
              <a:gd name="connsiteY8" fmla="*/ 0 h 158518"/>
              <a:gd name="connsiteX9" fmla="*/ 5297923 w 7723016"/>
              <a:gd name="connsiteY9" fmla="*/ 0 h 158518"/>
              <a:gd name="connsiteX10" fmla="*/ 6148615 w 7723016"/>
              <a:gd name="connsiteY10" fmla="*/ 0 h 158518"/>
              <a:gd name="connsiteX11" fmla="*/ 6769202 w 7723016"/>
              <a:gd name="connsiteY11" fmla="*/ 0 h 158518"/>
              <a:gd name="connsiteX12" fmla="*/ 7696596 w 7723016"/>
              <a:gd name="connsiteY12" fmla="*/ 0 h 158518"/>
              <a:gd name="connsiteX13" fmla="*/ 7723016 w 7723016"/>
              <a:gd name="connsiteY13" fmla="*/ 26420 h 158518"/>
              <a:gd name="connsiteX14" fmla="*/ 7723016 w 7723016"/>
              <a:gd name="connsiteY14" fmla="*/ 132098 h 158518"/>
              <a:gd name="connsiteX15" fmla="*/ 7696596 w 7723016"/>
              <a:gd name="connsiteY15" fmla="*/ 158518 h 158518"/>
              <a:gd name="connsiteX16" fmla="*/ 7076009 w 7723016"/>
              <a:gd name="connsiteY16" fmla="*/ 158518 h 158518"/>
              <a:gd name="connsiteX17" fmla="*/ 6225317 w 7723016"/>
              <a:gd name="connsiteY17" fmla="*/ 158518 h 158518"/>
              <a:gd name="connsiteX18" fmla="*/ 5528028 w 7723016"/>
              <a:gd name="connsiteY18" fmla="*/ 158518 h 158518"/>
              <a:gd name="connsiteX19" fmla="*/ 4677336 w 7723016"/>
              <a:gd name="connsiteY19" fmla="*/ 158518 h 158518"/>
              <a:gd name="connsiteX20" fmla="*/ 4210152 w 7723016"/>
              <a:gd name="connsiteY20" fmla="*/ 158518 h 158518"/>
              <a:gd name="connsiteX21" fmla="*/ 3512864 w 7723016"/>
              <a:gd name="connsiteY21" fmla="*/ 158518 h 158518"/>
              <a:gd name="connsiteX22" fmla="*/ 2738873 w 7723016"/>
              <a:gd name="connsiteY22" fmla="*/ 158518 h 158518"/>
              <a:gd name="connsiteX23" fmla="*/ 2041584 w 7723016"/>
              <a:gd name="connsiteY23" fmla="*/ 158518 h 158518"/>
              <a:gd name="connsiteX24" fmla="*/ 1420997 w 7723016"/>
              <a:gd name="connsiteY24" fmla="*/ 158518 h 158518"/>
              <a:gd name="connsiteX25" fmla="*/ 953814 w 7723016"/>
              <a:gd name="connsiteY25" fmla="*/ 158518 h 158518"/>
              <a:gd name="connsiteX26" fmla="*/ 26420 w 7723016"/>
              <a:gd name="connsiteY26" fmla="*/ 158518 h 158518"/>
              <a:gd name="connsiteX27" fmla="*/ 0 w 7723016"/>
              <a:gd name="connsiteY27" fmla="*/ 132098 h 158518"/>
              <a:gd name="connsiteX28" fmla="*/ 0 w 7723016"/>
              <a:gd name="connsiteY28" fmla="*/ 26420 h 15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7723016" h="158518" extrusionOk="0">
                <a:moveTo>
                  <a:pt x="0" y="26420"/>
                </a:moveTo>
                <a:cubicBezTo>
                  <a:pt x="741" y="11917"/>
                  <a:pt x="9865" y="-2643"/>
                  <a:pt x="26420" y="0"/>
                </a:cubicBezTo>
                <a:cubicBezTo>
                  <a:pt x="142223" y="11798"/>
                  <a:pt x="424523" y="14710"/>
                  <a:pt x="570305" y="0"/>
                </a:cubicBezTo>
                <a:cubicBezTo>
                  <a:pt x="716087" y="-14710"/>
                  <a:pt x="928227" y="28344"/>
                  <a:pt x="1190892" y="0"/>
                </a:cubicBezTo>
                <a:cubicBezTo>
                  <a:pt x="1453557" y="-28344"/>
                  <a:pt x="1584895" y="5979"/>
                  <a:pt x="1734777" y="0"/>
                </a:cubicBezTo>
                <a:cubicBezTo>
                  <a:pt x="1884660" y="-5979"/>
                  <a:pt x="2212723" y="318"/>
                  <a:pt x="2508768" y="0"/>
                </a:cubicBezTo>
                <a:cubicBezTo>
                  <a:pt x="2804813" y="-318"/>
                  <a:pt x="2916219" y="-13915"/>
                  <a:pt x="3282758" y="0"/>
                </a:cubicBezTo>
                <a:cubicBezTo>
                  <a:pt x="3649297" y="13915"/>
                  <a:pt x="3917073" y="-41372"/>
                  <a:pt x="4133451" y="0"/>
                </a:cubicBezTo>
                <a:cubicBezTo>
                  <a:pt x="4349829" y="41372"/>
                  <a:pt x="4456029" y="23828"/>
                  <a:pt x="4754038" y="0"/>
                </a:cubicBezTo>
                <a:cubicBezTo>
                  <a:pt x="5052047" y="-23828"/>
                  <a:pt x="5098686" y="-3187"/>
                  <a:pt x="5297923" y="0"/>
                </a:cubicBezTo>
                <a:cubicBezTo>
                  <a:pt x="5497160" y="3187"/>
                  <a:pt x="5770570" y="13010"/>
                  <a:pt x="6148615" y="0"/>
                </a:cubicBezTo>
                <a:cubicBezTo>
                  <a:pt x="6526660" y="-13010"/>
                  <a:pt x="6567157" y="19188"/>
                  <a:pt x="6769202" y="0"/>
                </a:cubicBezTo>
                <a:cubicBezTo>
                  <a:pt x="6971247" y="-19188"/>
                  <a:pt x="7277623" y="19097"/>
                  <a:pt x="7696596" y="0"/>
                </a:cubicBezTo>
                <a:cubicBezTo>
                  <a:pt x="7711741" y="2704"/>
                  <a:pt x="7725035" y="14203"/>
                  <a:pt x="7723016" y="26420"/>
                </a:cubicBezTo>
                <a:cubicBezTo>
                  <a:pt x="7720141" y="63577"/>
                  <a:pt x="7719423" y="102198"/>
                  <a:pt x="7723016" y="132098"/>
                </a:cubicBezTo>
                <a:cubicBezTo>
                  <a:pt x="7722359" y="146409"/>
                  <a:pt x="7714099" y="156723"/>
                  <a:pt x="7696596" y="158518"/>
                </a:cubicBezTo>
                <a:cubicBezTo>
                  <a:pt x="7444920" y="141281"/>
                  <a:pt x="7324965" y="189045"/>
                  <a:pt x="7076009" y="158518"/>
                </a:cubicBezTo>
                <a:cubicBezTo>
                  <a:pt x="6827053" y="127991"/>
                  <a:pt x="6620128" y="150842"/>
                  <a:pt x="6225317" y="158518"/>
                </a:cubicBezTo>
                <a:cubicBezTo>
                  <a:pt x="5830506" y="166194"/>
                  <a:pt x="5742047" y="130186"/>
                  <a:pt x="5528028" y="158518"/>
                </a:cubicBezTo>
                <a:cubicBezTo>
                  <a:pt x="5314009" y="186850"/>
                  <a:pt x="5007585" y="178213"/>
                  <a:pt x="4677336" y="158518"/>
                </a:cubicBezTo>
                <a:cubicBezTo>
                  <a:pt x="4347087" y="138823"/>
                  <a:pt x="4304629" y="177373"/>
                  <a:pt x="4210152" y="158518"/>
                </a:cubicBezTo>
                <a:cubicBezTo>
                  <a:pt x="4115675" y="139663"/>
                  <a:pt x="3743726" y="190340"/>
                  <a:pt x="3512864" y="158518"/>
                </a:cubicBezTo>
                <a:cubicBezTo>
                  <a:pt x="3282002" y="126696"/>
                  <a:pt x="3040501" y="192870"/>
                  <a:pt x="2738873" y="158518"/>
                </a:cubicBezTo>
                <a:cubicBezTo>
                  <a:pt x="2437245" y="124166"/>
                  <a:pt x="2385082" y="183274"/>
                  <a:pt x="2041584" y="158518"/>
                </a:cubicBezTo>
                <a:cubicBezTo>
                  <a:pt x="1698086" y="133762"/>
                  <a:pt x="1727991" y="189194"/>
                  <a:pt x="1420997" y="158518"/>
                </a:cubicBezTo>
                <a:cubicBezTo>
                  <a:pt x="1114003" y="127842"/>
                  <a:pt x="1095804" y="173624"/>
                  <a:pt x="953814" y="158518"/>
                </a:cubicBezTo>
                <a:cubicBezTo>
                  <a:pt x="811824" y="143412"/>
                  <a:pt x="361821" y="126177"/>
                  <a:pt x="26420" y="158518"/>
                </a:cubicBezTo>
                <a:cubicBezTo>
                  <a:pt x="10897" y="155980"/>
                  <a:pt x="-463" y="146231"/>
                  <a:pt x="0" y="132098"/>
                </a:cubicBezTo>
                <a:cubicBezTo>
                  <a:pt x="5082" y="104961"/>
                  <a:pt x="1019" y="77909"/>
                  <a:pt x="0" y="26420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2278868-4C9B-B9B9-4B26-68D2BF865E28}"/>
              </a:ext>
            </a:extLst>
          </p:cNvPr>
          <p:cNvSpPr/>
          <p:nvPr/>
        </p:nvSpPr>
        <p:spPr>
          <a:xfrm>
            <a:off x="1035981" y="5584826"/>
            <a:ext cx="2139020" cy="578352"/>
          </a:xfrm>
          <a:custGeom>
            <a:avLst/>
            <a:gdLst>
              <a:gd name="connsiteX0" fmla="*/ 0 w 2139020"/>
              <a:gd name="connsiteY0" fmla="*/ 96394 h 578352"/>
              <a:gd name="connsiteX1" fmla="*/ 96394 w 2139020"/>
              <a:gd name="connsiteY1" fmla="*/ 0 h 578352"/>
              <a:gd name="connsiteX2" fmla="*/ 706213 w 2139020"/>
              <a:gd name="connsiteY2" fmla="*/ 0 h 578352"/>
              <a:gd name="connsiteX3" fmla="*/ 1335495 w 2139020"/>
              <a:gd name="connsiteY3" fmla="*/ 0 h 578352"/>
              <a:gd name="connsiteX4" fmla="*/ 2042626 w 2139020"/>
              <a:gd name="connsiteY4" fmla="*/ 0 h 578352"/>
              <a:gd name="connsiteX5" fmla="*/ 2139020 w 2139020"/>
              <a:gd name="connsiteY5" fmla="*/ 96394 h 578352"/>
              <a:gd name="connsiteX6" fmla="*/ 2139020 w 2139020"/>
              <a:gd name="connsiteY6" fmla="*/ 481958 h 578352"/>
              <a:gd name="connsiteX7" fmla="*/ 2042626 w 2139020"/>
              <a:gd name="connsiteY7" fmla="*/ 578352 h 578352"/>
              <a:gd name="connsiteX8" fmla="*/ 1374420 w 2139020"/>
              <a:gd name="connsiteY8" fmla="*/ 578352 h 578352"/>
              <a:gd name="connsiteX9" fmla="*/ 745138 w 2139020"/>
              <a:gd name="connsiteY9" fmla="*/ 578352 h 578352"/>
              <a:gd name="connsiteX10" fmla="*/ 96394 w 2139020"/>
              <a:gd name="connsiteY10" fmla="*/ 578352 h 578352"/>
              <a:gd name="connsiteX11" fmla="*/ 0 w 2139020"/>
              <a:gd name="connsiteY11" fmla="*/ 481958 h 578352"/>
              <a:gd name="connsiteX12" fmla="*/ 0 w 2139020"/>
              <a:gd name="connsiteY12" fmla="*/ 96394 h 57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39020" h="578352" extrusionOk="0">
                <a:moveTo>
                  <a:pt x="0" y="96394"/>
                </a:moveTo>
                <a:cubicBezTo>
                  <a:pt x="3577" y="43582"/>
                  <a:pt x="41645" y="-2034"/>
                  <a:pt x="96394" y="0"/>
                </a:cubicBezTo>
                <a:cubicBezTo>
                  <a:pt x="311872" y="4599"/>
                  <a:pt x="436520" y="17624"/>
                  <a:pt x="706213" y="0"/>
                </a:cubicBezTo>
                <a:cubicBezTo>
                  <a:pt x="975906" y="-17624"/>
                  <a:pt x="1200156" y="-794"/>
                  <a:pt x="1335495" y="0"/>
                </a:cubicBezTo>
                <a:cubicBezTo>
                  <a:pt x="1470834" y="794"/>
                  <a:pt x="1900043" y="-23269"/>
                  <a:pt x="2042626" y="0"/>
                </a:cubicBezTo>
                <a:cubicBezTo>
                  <a:pt x="2099133" y="9947"/>
                  <a:pt x="2139342" y="52697"/>
                  <a:pt x="2139020" y="96394"/>
                </a:cubicBezTo>
                <a:cubicBezTo>
                  <a:pt x="2130323" y="217413"/>
                  <a:pt x="2129604" y="329779"/>
                  <a:pt x="2139020" y="481958"/>
                </a:cubicBezTo>
                <a:cubicBezTo>
                  <a:pt x="2145637" y="541400"/>
                  <a:pt x="2090189" y="572569"/>
                  <a:pt x="2042626" y="578352"/>
                </a:cubicBezTo>
                <a:cubicBezTo>
                  <a:pt x="1834702" y="595847"/>
                  <a:pt x="1645569" y="550029"/>
                  <a:pt x="1374420" y="578352"/>
                </a:cubicBezTo>
                <a:cubicBezTo>
                  <a:pt x="1103271" y="606675"/>
                  <a:pt x="960752" y="590712"/>
                  <a:pt x="745138" y="578352"/>
                </a:cubicBezTo>
                <a:cubicBezTo>
                  <a:pt x="529524" y="565992"/>
                  <a:pt x="402068" y="558581"/>
                  <a:pt x="96394" y="578352"/>
                </a:cubicBezTo>
                <a:cubicBezTo>
                  <a:pt x="43655" y="580782"/>
                  <a:pt x="7679" y="544224"/>
                  <a:pt x="0" y="481958"/>
                </a:cubicBezTo>
                <a:cubicBezTo>
                  <a:pt x="15832" y="316431"/>
                  <a:pt x="-9741" y="235160"/>
                  <a:pt x="0" y="96394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E31662A-9ADA-F760-6A69-BF8DD1C2C359}"/>
              </a:ext>
            </a:extLst>
          </p:cNvPr>
          <p:cNvSpPr/>
          <p:nvPr/>
        </p:nvSpPr>
        <p:spPr>
          <a:xfrm>
            <a:off x="2522598" y="3865880"/>
            <a:ext cx="2526921" cy="116840"/>
          </a:xfrm>
          <a:custGeom>
            <a:avLst/>
            <a:gdLst>
              <a:gd name="connsiteX0" fmla="*/ 0 w 2526921"/>
              <a:gd name="connsiteY0" fmla="*/ 19474 h 116840"/>
              <a:gd name="connsiteX1" fmla="*/ 19474 w 2526921"/>
              <a:gd name="connsiteY1" fmla="*/ 0 h 116840"/>
              <a:gd name="connsiteX2" fmla="*/ 591708 w 2526921"/>
              <a:gd name="connsiteY2" fmla="*/ 0 h 116840"/>
              <a:gd name="connsiteX3" fmla="*/ 1188821 w 2526921"/>
              <a:gd name="connsiteY3" fmla="*/ 0 h 116840"/>
              <a:gd name="connsiteX4" fmla="*/ 1761055 w 2526921"/>
              <a:gd name="connsiteY4" fmla="*/ 0 h 116840"/>
              <a:gd name="connsiteX5" fmla="*/ 2507447 w 2526921"/>
              <a:gd name="connsiteY5" fmla="*/ 0 h 116840"/>
              <a:gd name="connsiteX6" fmla="*/ 2526921 w 2526921"/>
              <a:gd name="connsiteY6" fmla="*/ 19474 h 116840"/>
              <a:gd name="connsiteX7" fmla="*/ 2526921 w 2526921"/>
              <a:gd name="connsiteY7" fmla="*/ 97366 h 116840"/>
              <a:gd name="connsiteX8" fmla="*/ 2507447 w 2526921"/>
              <a:gd name="connsiteY8" fmla="*/ 116840 h 116840"/>
              <a:gd name="connsiteX9" fmla="*/ 1960093 w 2526921"/>
              <a:gd name="connsiteY9" fmla="*/ 116840 h 116840"/>
              <a:gd name="connsiteX10" fmla="*/ 1362979 w 2526921"/>
              <a:gd name="connsiteY10" fmla="*/ 116840 h 116840"/>
              <a:gd name="connsiteX11" fmla="*/ 790746 w 2526921"/>
              <a:gd name="connsiteY11" fmla="*/ 116840 h 116840"/>
              <a:gd name="connsiteX12" fmla="*/ 19474 w 2526921"/>
              <a:gd name="connsiteY12" fmla="*/ 116840 h 116840"/>
              <a:gd name="connsiteX13" fmla="*/ 0 w 2526921"/>
              <a:gd name="connsiteY13" fmla="*/ 97366 h 116840"/>
              <a:gd name="connsiteX14" fmla="*/ 0 w 2526921"/>
              <a:gd name="connsiteY14" fmla="*/ 19474 h 116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526921" h="116840" extrusionOk="0">
                <a:moveTo>
                  <a:pt x="0" y="19474"/>
                </a:moveTo>
                <a:cubicBezTo>
                  <a:pt x="2605" y="9028"/>
                  <a:pt x="8312" y="-547"/>
                  <a:pt x="19474" y="0"/>
                </a:cubicBezTo>
                <a:cubicBezTo>
                  <a:pt x="134968" y="11503"/>
                  <a:pt x="358466" y="10810"/>
                  <a:pt x="591708" y="0"/>
                </a:cubicBezTo>
                <a:cubicBezTo>
                  <a:pt x="824950" y="-10810"/>
                  <a:pt x="966096" y="-17533"/>
                  <a:pt x="1188821" y="0"/>
                </a:cubicBezTo>
                <a:cubicBezTo>
                  <a:pt x="1411546" y="17533"/>
                  <a:pt x="1509168" y="-11896"/>
                  <a:pt x="1761055" y="0"/>
                </a:cubicBezTo>
                <a:cubicBezTo>
                  <a:pt x="2012942" y="11896"/>
                  <a:pt x="2262258" y="5506"/>
                  <a:pt x="2507447" y="0"/>
                </a:cubicBezTo>
                <a:cubicBezTo>
                  <a:pt x="2518711" y="116"/>
                  <a:pt x="2528114" y="7286"/>
                  <a:pt x="2526921" y="19474"/>
                </a:cubicBezTo>
                <a:cubicBezTo>
                  <a:pt x="2530805" y="36993"/>
                  <a:pt x="2527167" y="68525"/>
                  <a:pt x="2526921" y="97366"/>
                </a:cubicBezTo>
                <a:cubicBezTo>
                  <a:pt x="2527861" y="106658"/>
                  <a:pt x="2519059" y="116439"/>
                  <a:pt x="2507447" y="116840"/>
                </a:cubicBezTo>
                <a:cubicBezTo>
                  <a:pt x="2262588" y="138391"/>
                  <a:pt x="2103631" y="141961"/>
                  <a:pt x="1960093" y="116840"/>
                </a:cubicBezTo>
                <a:cubicBezTo>
                  <a:pt x="1816555" y="91719"/>
                  <a:pt x="1614631" y="102311"/>
                  <a:pt x="1362979" y="116840"/>
                </a:cubicBezTo>
                <a:cubicBezTo>
                  <a:pt x="1111327" y="131369"/>
                  <a:pt x="996416" y="144159"/>
                  <a:pt x="790746" y="116840"/>
                </a:cubicBezTo>
                <a:cubicBezTo>
                  <a:pt x="585076" y="89521"/>
                  <a:pt x="273389" y="83470"/>
                  <a:pt x="19474" y="116840"/>
                </a:cubicBezTo>
                <a:cubicBezTo>
                  <a:pt x="10028" y="118720"/>
                  <a:pt x="-1596" y="108922"/>
                  <a:pt x="0" y="97366"/>
                </a:cubicBezTo>
                <a:cubicBezTo>
                  <a:pt x="-2084" y="70367"/>
                  <a:pt x="1034" y="35099"/>
                  <a:pt x="0" y="19474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AC30568-9FE6-116A-BE85-06ECA4931098}"/>
              </a:ext>
            </a:extLst>
          </p:cNvPr>
          <p:cNvSpPr txBox="1"/>
          <p:nvPr/>
        </p:nvSpPr>
        <p:spPr>
          <a:xfrm>
            <a:off x="8703089" y="5367067"/>
            <a:ext cx="32562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quest path. host is: management.azure.co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F43C04-39DF-6D68-8641-74A73F1740AA}"/>
              </a:ext>
            </a:extLst>
          </p:cNvPr>
          <p:cNvSpPr txBox="1"/>
          <p:nvPr/>
        </p:nvSpPr>
        <p:spPr>
          <a:xfrm>
            <a:off x="3092436" y="5735502"/>
            <a:ext cx="10786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quest bod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0610C28-7A9F-81D9-8E60-280F9580DDA7}"/>
              </a:ext>
            </a:extLst>
          </p:cNvPr>
          <p:cNvSpPr txBox="1"/>
          <p:nvPr/>
        </p:nvSpPr>
        <p:spPr>
          <a:xfrm>
            <a:off x="4592197" y="3637002"/>
            <a:ext cx="19593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ference to request result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88DD46D-7B16-9F3B-C594-E4BEFC8586E3}"/>
              </a:ext>
            </a:extLst>
          </p:cNvPr>
          <p:cNvGrpSpPr/>
          <p:nvPr/>
        </p:nvGrpSpPr>
        <p:grpSpPr>
          <a:xfrm>
            <a:off x="207123" y="215979"/>
            <a:ext cx="11895977" cy="1214125"/>
            <a:chOff x="207123" y="215979"/>
            <a:chExt cx="11634735" cy="1214125"/>
          </a:xfrm>
        </p:grpSpPr>
        <p:sp>
          <p:nvSpPr>
            <p:cNvPr id="28" name="Rectángulo redondeado 14">
              <a:extLst>
                <a:ext uri="{FF2B5EF4-FFF2-40B4-BE49-F238E27FC236}">
                  <a16:creationId xmlns:a16="http://schemas.microsoft.com/office/drawing/2014/main" id="{C55F0861-7869-6B6A-FBC9-7B7EB46FD850}"/>
                </a:ext>
              </a:extLst>
            </p:cNvPr>
            <p:cNvSpPr/>
            <p:nvPr/>
          </p:nvSpPr>
          <p:spPr>
            <a:xfrm>
              <a:off x="207123" y="215979"/>
              <a:ext cx="8176345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Rectángulo 12">
              <a:extLst>
                <a:ext uri="{FF2B5EF4-FFF2-40B4-BE49-F238E27FC236}">
                  <a16:creationId xmlns:a16="http://schemas.microsoft.com/office/drawing/2014/main" id="{9E755852-A843-B0C8-77CE-F3A2AA7294BE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S UI calls to Azure RM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D499AEE-A88F-DDE2-31C0-8C8A3286AF7E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3941484-1404-E060-24C4-0BD0C1B3E18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3FD9996-4A47-2505-6E96-AE4075DA70F2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2A18AD3-0948-BAD3-F6D4-42F87115BB46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63027F1-8C52-AF08-76C8-5EC32B823003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13" name="Freeform 78">
                <a:extLst>
                  <a:ext uri="{FF2B5EF4-FFF2-40B4-BE49-F238E27FC236}">
                    <a16:creationId xmlns:a16="http://schemas.microsoft.com/office/drawing/2014/main" id="{D25FBB34-61EB-023D-A0EC-477478F1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" name="Freeform 79">
                <a:extLst>
                  <a:ext uri="{FF2B5EF4-FFF2-40B4-BE49-F238E27FC236}">
                    <a16:creationId xmlns:a16="http://schemas.microsoft.com/office/drawing/2014/main" id="{E08195C5-F62C-0FCD-25D4-9850BDA0C0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" name="Freeform 80">
                <a:extLst>
                  <a:ext uri="{FF2B5EF4-FFF2-40B4-BE49-F238E27FC236}">
                    <a16:creationId xmlns:a16="http://schemas.microsoft.com/office/drawing/2014/main" id="{CAF3FEBE-45C4-A41A-D0B7-28520C5FB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6" name="Freeform 81">
                <a:extLst>
                  <a:ext uri="{FF2B5EF4-FFF2-40B4-BE49-F238E27FC236}">
                    <a16:creationId xmlns:a16="http://schemas.microsoft.com/office/drawing/2014/main" id="{A38F7B24-5515-3100-5F85-6027C992F8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Freeform 82">
                <a:extLst>
                  <a:ext uri="{FF2B5EF4-FFF2-40B4-BE49-F238E27FC236}">
                    <a16:creationId xmlns:a16="http://schemas.microsoft.com/office/drawing/2014/main" id="{5DE74EC6-C055-DD81-00C8-83D7D75992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" name="Freeform 83">
                <a:extLst>
                  <a:ext uri="{FF2B5EF4-FFF2-40B4-BE49-F238E27FC236}">
                    <a16:creationId xmlns:a16="http://schemas.microsoft.com/office/drawing/2014/main" id="{67093E0F-1AC1-E866-1470-E64099E54F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" name="Freeform 84">
                <a:extLst>
                  <a:ext uri="{FF2B5EF4-FFF2-40B4-BE49-F238E27FC236}">
                    <a16:creationId xmlns:a16="http://schemas.microsoft.com/office/drawing/2014/main" id="{79FC47A6-08FF-95C5-DD6C-EEE2BB1A8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Freeform 85">
                <a:extLst>
                  <a:ext uri="{FF2B5EF4-FFF2-40B4-BE49-F238E27FC236}">
                    <a16:creationId xmlns:a16="http://schemas.microsoft.com/office/drawing/2014/main" id="{86EF2641-734F-3A7A-BA45-E35534F4CB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" name="Freeform 86">
                <a:extLst>
                  <a:ext uri="{FF2B5EF4-FFF2-40B4-BE49-F238E27FC236}">
                    <a16:creationId xmlns:a16="http://schemas.microsoft.com/office/drawing/2014/main" id="{1069B20A-E74D-C597-7CD8-B5301DAC8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" name="Freeform 87">
                <a:extLst>
                  <a:ext uri="{FF2B5EF4-FFF2-40B4-BE49-F238E27FC236}">
                    <a16:creationId xmlns:a16="http://schemas.microsoft.com/office/drawing/2014/main" id="{B655566A-F429-6FB6-3978-C8B6D8613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" name="Freeform 88">
                <a:extLst>
                  <a:ext uri="{FF2B5EF4-FFF2-40B4-BE49-F238E27FC236}">
                    <a16:creationId xmlns:a16="http://schemas.microsoft.com/office/drawing/2014/main" id="{C075D5C2-0D54-8DCD-7E34-ADEB9620F1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" name="Freeform 89">
                <a:extLst>
                  <a:ext uri="{FF2B5EF4-FFF2-40B4-BE49-F238E27FC236}">
                    <a16:creationId xmlns:a16="http://schemas.microsoft.com/office/drawing/2014/main" id="{57528EB4-422B-1EC0-8FC3-BC2BC9BC5B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5740E73-8CE2-0408-9B42-45D3B28D28DB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71187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B93D0A-2870-FA1A-36A1-643F603E0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2</a:t>
            </a:fld>
            <a:endParaRPr lang="en-US"/>
          </a:p>
        </p:txBody>
      </p:sp>
      <p:pic>
        <p:nvPicPr>
          <p:cNvPr id="4" name="Picture 3" descr="A poster with a group of people&#10;&#10;Description automatically generated">
            <a:extLst>
              <a:ext uri="{FF2B5EF4-FFF2-40B4-BE49-F238E27FC236}">
                <a16:creationId xmlns:a16="http://schemas.microsoft.com/office/drawing/2014/main" id="{A0089F55-0235-BDE5-F816-60A24FB322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8003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D79A74-918D-0D24-3CD3-FB6E2FE8B1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489" y="2062933"/>
            <a:ext cx="5270500" cy="43478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3C2E65-D17D-5264-F977-99956173EC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0030" y="2866367"/>
            <a:ext cx="5492481" cy="284546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D84ADEE-E752-F94E-D844-A11CD79F3FD8}"/>
              </a:ext>
            </a:extLst>
          </p:cNvPr>
          <p:cNvSpPr/>
          <p:nvPr/>
        </p:nvSpPr>
        <p:spPr>
          <a:xfrm>
            <a:off x="817879" y="2402840"/>
            <a:ext cx="3383281" cy="355600"/>
          </a:xfrm>
          <a:custGeom>
            <a:avLst/>
            <a:gdLst>
              <a:gd name="connsiteX0" fmla="*/ 0 w 3383281"/>
              <a:gd name="connsiteY0" fmla="*/ 59268 h 355600"/>
              <a:gd name="connsiteX1" fmla="*/ 59268 w 3383281"/>
              <a:gd name="connsiteY1" fmla="*/ 0 h 355600"/>
              <a:gd name="connsiteX2" fmla="*/ 646922 w 3383281"/>
              <a:gd name="connsiteY2" fmla="*/ 0 h 355600"/>
              <a:gd name="connsiteX3" fmla="*/ 1267224 w 3383281"/>
              <a:gd name="connsiteY3" fmla="*/ 0 h 355600"/>
              <a:gd name="connsiteX4" fmla="*/ 1854878 w 3383281"/>
              <a:gd name="connsiteY4" fmla="*/ 0 h 355600"/>
              <a:gd name="connsiteX5" fmla="*/ 2540474 w 3383281"/>
              <a:gd name="connsiteY5" fmla="*/ 0 h 355600"/>
              <a:gd name="connsiteX6" fmla="*/ 3324013 w 3383281"/>
              <a:gd name="connsiteY6" fmla="*/ 0 h 355600"/>
              <a:gd name="connsiteX7" fmla="*/ 3383281 w 3383281"/>
              <a:gd name="connsiteY7" fmla="*/ 59268 h 355600"/>
              <a:gd name="connsiteX8" fmla="*/ 3383281 w 3383281"/>
              <a:gd name="connsiteY8" fmla="*/ 296332 h 355600"/>
              <a:gd name="connsiteX9" fmla="*/ 3324013 w 3383281"/>
              <a:gd name="connsiteY9" fmla="*/ 355600 h 355600"/>
              <a:gd name="connsiteX10" fmla="*/ 2605769 w 3383281"/>
              <a:gd name="connsiteY10" fmla="*/ 355600 h 355600"/>
              <a:gd name="connsiteX11" fmla="*/ 2018115 w 3383281"/>
              <a:gd name="connsiteY11" fmla="*/ 355600 h 355600"/>
              <a:gd name="connsiteX12" fmla="*/ 1332519 w 3383281"/>
              <a:gd name="connsiteY12" fmla="*/ 355600 h 355600"/>
              <a:gd name="connsiteX13" fmla="*/ 679570 w 3383281"/>
              <a:gd name="connsiteY13" fmla="*/ 355600 h 355600"/>
              <a:gd name="connsiteX14" fmla="*/ 59268 w 3383281"/>
              <a:gd name="connsiteY14" fmla="*/ 355600 h 355600"/>
              <a:gd name="connsiteX15" fmla="*/ 0 w 3383281"/>
              <a:gd name="connsiteY15" fmla="*/ 296332 h 355600"/>
              <a:gd name="connsiteX16" fmla="*/ 0 w 3383281"/>
              <a:gd name="connsiteY16" fmla="*/ 59268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83281" h="355600" extrusionOk="0">
                <a:moveTo>
                  <a:pt x="0" y="59268"/>
                </a:moveTo>
                <a:cubicBezTo>
                  <a:pt x="3005" y="26892"/>
                  <a:pt x="24120" y="-3250"/>
                  <a:pt x="59268" y="0"/>
                </a:cubicBezTo>
                <a:cubicBezTo>
                  <a:pt x="180762" y="-16062"/>
                  <a:pt x="353106" y="-9918"/>
                  <a:pt x="646922" y="0"/>
                </a:cubicBezTo>
                <a:cubicBezTo>
                  <a:pt x="940738" y="9918"/>
                  <a:pt x="1074640" y="10375"/>
                  <a:pt x="1267224" y="0"/>
                </a:cubicBezTo>
                <a:cubicBezTo>
                  <a:pt x="1459808" y="-10375"/>
                  <a:pt x="1645112" y="27760"/>
                  <a:pt x="1854878" y="0"/>
                </a:cubicBezTo>
                <a:cubicBezTo>
                  <a:pt x="2064644" y="-27760"/>
                  <a:pt x="2326604" y="19255"/>
                  <a:pt x="2540474" y="0"/>
                </a:cubicBezTo>
                <a:cubicBezTo>
                  <a:pt x="2754344" y="-19255"/>
                  <a:pt x="2964364" y="27780"/>
                  <a:pt x="3324013" y="0"/>
                </a:cubicBezTo>
                <a:cubicBezTo>
                  <a:pt x="3360453" y="2387"/>
                  <a:pt x="3386298" y="22969"/>
                  <a:pt x="3383281" y="59268"/>
                </a:cubicBezTo>
                <a:cubicBezTo>
                  <a:pt x="3375330" y="167840"/>
                  <a:pt x="3382529" y="195293"/>
                  <a:pt x="3383281" y="296332"/>
                </a:cubicBezTo>
                <a:cubicBezTo>
                  <a:pt x="3388103" y="334635"/>
                  <a:pt x="3360747" y="350623"/>
                  <a:pt x="3324013" y="355600"/>
                </a:cubicBezTo>
                <a:cubicBezTo>
                  <a:pt x="3001791" y="358447"/>
                  <a:pt x="2933053" y="334481"/>
                  <a:pt x="2605769" y="355600"/>
                </a:cubicBezTo>
                <a:cubicBezTo>
                  <a:pt x="2278485" y="376719"/>
                  <a:pt x="2285718" y="372349"/>
                  <a:pt x="2018115" y="355600"/>
                </a:cubicBezTo>
                <a:cubicBezTo>
                  <a:pt x="1750512" y="338851"/>
                  <a:pt x="1615149" y="389325"/>
                  <a:pt x="1332519" y="355600"/>
                </a:cubicBezTo>
                <a:cubicBezTo>
                  <a:pt x="1049889" y="321875"/>
                  <a:pt x="961844" y="339083"/>
                  <a:pt x="679570" y="355600"/>
                </a:cubicBezTo>
                <a:cubicBezTo>
                  <a:pt x="397296" y="372117"/>
                  <a:pt x="263541" y="366793"/>
                  <a:pt x="59268" y="355600"/>
                </a:cubicBezTo>
                <a:cubicBezTo>
                  <a:pt x="23371" y="359493"/>
                  <a:pt x="-1528" y="332155"/>
                  <a:pt x="0" y="296332"/>
                </a:cubicBezTo>
                <a:cubicBezTo>
                  <a:pt x="4578" y="180065"/>
                  <a:pt x="-7433" y="116832"/>
                  <a:pt x="0" y="592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DDCD15-65B7-F44F-0FB9-1A87944D7074}"/>
              </a:ext>
            </a:extLst>
          </p:cNvPr>
          <p:cNvSpPr txBox="1"/>
          <p:nvPr/>
        </p:nvSpPr>
        <p:spPr>
          <a:xfrm>
            <a:off x="4128557" y="2442140"/>
            <a:ext cx="28798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form blade output using </a:t>
            </a:r>
            <a:r>
              <a:rPr lang="en-US" sz="1200" dirty="0" err="1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MESPath</a:t>
            </a:r>
            <a:endParaRPr lang="en-US" sz="1200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99839D6-75B4-8C05-B7FA-1D3403C84BF5}"/>
              </a:ext>
            </a:extLst>
          </p:cNvPr>
          <p:cNvSpPr/>
          <p:nvPr/>
        </p:nvSpPr>
        <p:spPr>
          <a:xfrm>
            <a:off x="817878" y="2758439"/>
            <a:ext cx="3703322" cy="107928"/>
          </a:xfrm>
          <a:custGeom>
            <a:avLst/>
            <a:gdLst>
              <a:gd name="connsiteX0" fmla="*/ 0 w 3703322"/>
              <a:gd name="connsiteY0" fmla="*/ 17988 h 107928"/>
              <a:gd name="connsiteX1" fmla="*/ 17988 w 3703322"/>
              <a:gd name="connsiteY1" fmla="*/ 0 h 107928"/>
              <a:gd name="connsiteX2" fmla="*/ 555865 w 3703322"/>
              <a:gd name="connsiteY2" fmla="*/ 0 h 107928"/>
              <a:gd name="connsiteX3" fmla="*/ 1130416 w 3703322"/>
              <a:gd name="connsiteY3" fmla="*/ 0 h 107928"/>
              <a:gd name="connsiteX4" fmla="*/ 1668294 w 3703322"/>
              <a:gd name="connsiteY4" fmla="*/ 0 h 107928"/>
              <a:gd name="connsiteX5" fmla="*/ 2316191 w 3703322"/>
              <a:gd name="connsiteY5" fmla="*/ 0 h 107928"/>
              <a:gd name="connsiteX6" fmla="*/ 2964089 w 3703322"/>
              <a:gd name="connsiteY6" fmla="*/ 0 h 107928"/>
              <a:gd name="connsiteX7" fmla="*/ 3685334 w 3703322"/>
              <a:gd name="connsiteY7" fmla="*/ 0 h 107928"/>
              <a:gd name="connsiteX8" fmla="*/ 3703322 w 3703322"/>
              <a:gd name="connsiteY8" fmla="*/ 17988 h 107928"/>
              <a:gd name="connsiteX9" fmla="*/ 3703322 w 3703322"/>
              <a:gd name="connsiteY9" fmla="*/ 89940 h 107928"/>
              <a:gd name="connsiteX10" fmla="*/ 3685334 w 3703322"/>
              <a:gd name="connsiteY10" fmla="*/ 107928 h 107928"/>
              <a:gd name="connsiteX11" fmla="*/ 3037436 w 3703322"/>
              <a:gd name="connsiteY11" fmla="*/ 107928 h 107928"/>
              <a:gd name="connsiteX12" fmla="*/ 2389538 w 3703322"/>
              <a:gd name="connsiteY12" fmla="*/ 107928 h 107928"/>
              <a:gd name="connsiteX13" fmla="*/ 1778314 w 3703322"/>
              <a:gd name="connsiteY13" fmla="*/ 107928 h 107928"/>
              <a:gd name="connsiteX14" fmla="*/ 1167090 w 3703322"/>
              <a:gd name="connsiteY14" fmla="*/ 107928 h 107928"/>
              <a:gd name="connsiteX15" fmla="*/ 629212 w 3703322"/>
              <a:gd name="connsiteY15" fmla="*/ 107928 h 107928"/>
              <a:gd name="connsiteX16" fmla="*/ 17988 w 3703322"/>
              <a:gd name="connsiteY16" fmla="*/ 107928 h 107928"/>
              <a:gd name="connsiteX17" fmla="*/ 0 w 3703322"/>
              <a:gd name="connsiteY17" fmla="*/ 89940 h 107928"/>
              <a:gd name="connsiteX18" fmla="*/ 0 w 3703322"/>
              <a:gd name="connsiteY18" fmla="*/ 17988 h 107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703322" h="107928" extrusionOk="0">
                <a:moveTo>
                  <a:pt x="0" y="17988"/>
                </a:moveTo>
                <a:cubicBezTo>
                  <a:pt x="443" y="8107"/>
                  <a:pt x="6969" y="-1460"/>
                  <a:pt x="17988" y="0"/>
                </a:cubicBezTo>
                <a:cubicBezTo>
                  <a:pt x="227714" y="10185"/>
                  <a:pt x="369384" y="-26850"/>
                  <a:pt x="555865" y="0"/>
                </a:cubicBezTo>
                <a:cubicBezTo>
                  <a:pt x="742346" y="26850"/>
                  <a:pt x="984194" y="14566"/>
                  <a:pt x="1130416" y="0"/>
                </a:cubicBezTo>
                <a:cubicBezTo>
                  <a:pt x="1276638" y="-14566"/>
                  <a:pt x="1555240" y="-23257"/>
                  <a:pt x="1668294" y="0"/>
                </a:cubicBezTo>
                <a:cubicBezTo>
                  <a:pt x="1781348" y="23257"/>
                  <a:pt x="2055281" y="4870"/>
                  <a:pt x="2316191" y="0"/>
                </a:cubicBezTo>
                <a:cubicBezTo>
                  <a:pt x="2577101" y="-4870"/>
                  <a:pt x="2792838" y="12646"/>
                  <a:pt x="2964089" y="0"/>
                </a:cubicBezTo>
                <a:cubicBezTo>
                  <a:pt x="3135340" y="-12646"/>
                  <a:pt x="3531434" y="29175"/>
                  <a:pt x="3685334" y="0"/>
                </a:cubicBezTo>
                <a:cubicBezTo>
                  <a:pt x="3696431" y="1090"/>
                  <a:pt x="3702776" y="7498"/>
                  <a:pt x="3703322" y="17988"/>
                </a:cubicBezTo>
                <a:cubicBezTo>
                  <a:pt x="3702437" y="44731"/>
                  <a:pt x="3701444" y="65628"/>
                  <a:pt x="3703322" y="89940"/>
                </a:cubicBezTo>
                <a:cubicBezTo>
                  <a:pt x="3703237" y="98850"/>
                  <a:pt x="3695268" y="107051"/>
                  <a:pt x="3685334" y="107928"/>
                </a:cubicBezTo>
                <a:cubicBezTo>
                  <a:pt x="3395043" y="101351"/>
                  <a:pt x="3343864" y="139586"/>
                  <a:pt x="3037436" y="107928"/>
                </a:cubicBezTo>
                <a:cubicBezTo>
                  <a:pt x="2731008" y="76270"/>
                  <a:pt x="2519326" y="100373"/>
                  <a:pt x="2389538" y="107928"/>
                </a:cubicBezTo>
                <a:cubicBezTo>
                  <a:pt x="2259750" y="115483"/>
                  <a:pt x="1926298" y="112319"/>
                  <a:pt x="1778314" y="107928"/>
                </a:cubicBezTo>
                <a:cubicBezTo>
                  <a:pt x="1630330" y="103537"/>
                  <a:pt x="1321886" y="126664"/>
                  <a:pt x="1167090" y="107928"/>
                </a:cubicBezTo>
                <a:cubicBezTo>
                  <a:pt x="1012294" y="89192"/>
                  <a:pt x="824870" y="107315"/>
                  <a:pt x="629212" y="107928"/>
                </a:cubicBezTo>
                <a:cubicBezTo>
                  <a:pt x="433554" y="108541"/>
                  <a:pt x="298938" y="130840"/>
                  <a:pt x="17988" y="107928"/>
                </a:cubicBezTo>
                <a:cubicBezTo>
                  <a:pt x="10222" y="107468"/>
                  <a:pt x="772" y="100423"/>
                  <a:pt x="0" y="89940"/>
                </a:cubicBezTo>
                <a:cubicBezTo>
                  <a:pt x="3015" y="61736"/>
                  <a:pt x="444" y="50616"/>
                  <a:pt x="0" y="1798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E501D0-74BF-C6E4-7DFF-C79570BE3990}"/>
              </a:ext>
            </a:extLst>
          </p:cNvPr>
          <p:cNvSpPr txBox="1"/>
          <p:nvPr/>
        </p:nvSpPr>
        <p:spPr>
          <a:xfrm>
            <a:off x="4443517" y="2673903"/>
            <a:ext cx="1887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en should blade open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CF59204-0A60-0912-9548-A1C6E1518D46}"/>
              </a:ext>
            </a:extLst>
          </p:cNvPr>
          <p:cNvSpPr/>
          <p:nvPr/>
        </p:nvSpPr>
        <p:spPr>
          <a:xfrm>
            <a:off x="1021078" y="2971182"/>
            <a:ext cx="1579882" cy="255345"/>
          </a:xfrm>
          <a:custGeom>
            <a:avLst/>
            <a:gdLst>
              <a:gd name="connsiteX0" fmla="*/ 0 w 1579882"/>
              <a:gd name="connsiteY0" fmla="*/ 42558 h 255345"/>
              <a:gd name="connsiteX1" fmla="*/ 42558 w 1579882"/>
              <a:gd name="connsiteY1" fmla="*/ 0 h 255345"/>
              <a:gd name="connsiteX2" fmla="*/ 510918 w 1579882"/>
              <a:gd name="connsiteY2" fmla="*/ 0 h 255345"/>
              <a:gd name="connsiteX3" fmla="*/ 994226 w 1579882"/>
              <a:gd name="connsiteY3" fmla="*/ 0 h 255345"/>
              <a:gd name="connsiteX4" fmla="*/ 1537324 w 1579882"/>
              <a:gd name="connsiteY4" fmla="*/ 0 h 255345"/>
              <a:gd name="connsiteX5" fmla="*/ 1579882 w 1579882"/>
              <a:gd name="connsiteY5" fmla="*/ 42558 h 255345"/>
              <a:gd name="connsiteX6" fmla="*/ 1579882 w 1579882"/>
              <a:gd name="connsiteY6" fmla="*/ 212787 h 255345"/>
              <a:gd name="connsiteX7" fmla="*/ 1537324 w 1579882"/>
              <a:gd name="connsiteY7" fmla="*/ 255345 h 255345"/>
              <a:gd name="connsiteX8" fmla="*/ 1024121 w 1579882"/>
              <a:gd name="connsiteY8" fmla="*/ 255345 h 255345"/>
              <a:gd name="connsiteX9" fmla="*/ 540813 w 1579882"/>
              <a:gd name="connsiteY9" fmla="*/ 255345 h 255345"/>
              <a:gd name="connsiteX10" fmla="*/ 42558 w 1579882"/>
              <a:gd name="connsiteY10" fmla="*/ 255345 h 255345"/>
              <a:gd name="connsiteX11" fmla="*/ 0 w 1579882"/>
              <a:gd name="connsiteY11" fmla="*/ 212787 h 255345"/>
              <a:gd name="connsiteX12" fmla="*/ 0 w 1579882"/>
              <a:gd name="connsiteY12" fmla="*/ 42558 h 255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9882" h="255345" extrusionOk="0">
                <a:moveTo>
                  <a:pt x="0" y="42558"/>
                </a:moveTo>
                <a:cubicBezTo>
                  <a:pt x="3315" y="19448"/>
                  <a:pt x="18061" y="-1335"/>
                  <a:pt x="42558" y="0"/>
                </a:cubicBezTo>
                <a:cubicBezTo>
                  <a:pt x="145141" y="-18224"/>
                  <a:pt x="388590" y="9770"/>
                  <a:pt x="510918" y="0"/>
                </a:cubicBezTo>
                <a:cubicBezTo>
                  <a:pt x="633246" y="-9770"/>
                  <a:pt x="849998" y="-3768"/>
                  <a:pt x="994226" y="0"/>
                </a:cubicBezTo>
                <a:cubicBezTo>
                  <a:pt x="1138454" y="3768"/>
                  <a:pt x="1420354" y="-16661"/>
                  <a:pt x="1537324" y="0"/>
                </a:cubicBezTo>
                <a:cubicBezTo>
                  <a:pt x="1561737" y="2766"/>
                  <a:pt x="1580028" y="23390"/>
                  <a:pt x="1579882" y="42558"/>
                </a:cubicBezTo>
                <a:cubicBezTo>
                  <a:pt x="1578061" y="108659"/>
                  <a:pt x="1578274" y="152374"/>
                  <a:pt x="1579882" y="212787"/>
                </a:cubicBezTo>
                <a:cubicBezTo>
                  <a:pt x="1580693" y="237052"/>
                  <a:pt x="1558447" y="252918"/>
                  <a:pt x="1537324" y="255345"/>
                </a:cubicBezTo>
                <a:cubicBezTo>
                  <a:pt x="1324077" y="250598"/>
                  <a:pt x="1172130" y="231606"/>
                  <a:pt x="1024121" y="255345"/>
                </a:cubicBezTo>
                <a:cubicBezTo>
                  <a:pt x="876112" y="279084"/>
                  <a:pt x="644801" y="256630"/>
                  <a:pt x="540813" y="255345"/>
                </a:cubicBezTo>
                <a:cubicBezTo>
                  <a:pt x="436825" y="254060"/>
                  <a:pt x="169739" y="262941"/>
                  <a:pt x="42558" y="255345"/>
                </a:cubicBezTo>
                <a:cubicBezTo>
                  <a:pt x="20002" y="259974"/>
                  <a:pt x="2929" y="239735"/>
                  <a:pt x="0" y="212787"/>
                </a:cubicBezTo>
                <a:cubicBezTo>
                  <a:pt x="426" y="143533"/>
                  <a:pt x="6523" y="109860"/>
                  <a:pt x="0" y="4255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0516A6-D03A-0C00-9AC5-0957BF76296D}"/>
              </a:ext>
            </a:extLst>
          </p:cNvPr>
          <p:cNvSpPr txBox="1"/>
          <p:nvPr/>
        </p:nvSpPr>
        <p:spPr>
          <a:xfrm>
            <a:off x="2509519" y="2971182"/>
            <a:ext cx="10278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ich blad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D266E28-09B5-2E0F-7809-EE400E313513}"/>
              </a:ext>
            </a:extLst>
          </p:cNvPr>
          <p:cNvSpPr/>
          <p:nvPr/>
        </p:nvSpPr>
        <p:spPr>
          <a:xfrm>
            <a:off x="1173478" y="3313034"/>
            <a:ext cx="3027682" cy="1058786"/>
          </a:xfrm>
          <a:custGeom>
            <a:avLst/>
            <a:gdLst>
              <a:gd name="connsiteX0" fmla="*/ 0 w 3027682"/>
              <a:gd name="connsiteY0" fmla="*/ 176468 h 1058786"/>
              <a:gd name="connsiteX1" fmla="*/ 176468 w 3027682"/>
              <a:gd name="connsiteY1" fmla="*/ 0 h 1058786"/>
              <a:gd name="connsiteX2" fmla="*/ 791660 w 3027682"/>
              <a:gd name="connsiteY2" fmla="*/ 0 h 1058786"/>
              <a:gd name="connsiteX3" fmla="*/ 1433599 w 3027682"/>
              <a:gd name="connsiteY3" fmla="*/ 0 h 1058786"/>
              <a:gd name="connsiteX4" fmla="*/ 2048790 w 3027682"/>
              <a:gd name="connsiteY4" fmla="*/ 0 h 1058786"/>
              <a:gd name="connsiteX5" fmla="*/ 2851214 w 3027682"/>
              <a:gd name="connsiteY5" fmla="*/ 0 h 1058786"/>
              <a:gd name="connsiteX6" fmla="*/ 3027682 w 3027682"/>
              <a:gd name="connsiteY6" fmla="*/ 176468 h 1058786"/>
              <a:gd name="connsiteX7" fmla="*/ 3027682 w 3027682"/>
              <a:gd name="connsiteY7" fmla="*/ 515276 h 1058786"/>
              <a:gd name="connsiteX8" fmla="*/ 3027682 w 3027682"/>
              <a:gd name="connsiteY8" fmla="*/ 882318 h 1058786"/>
              <a:gd name="connsiteX9" fmla="*/ 2851214 w 3027682"/>
              <a:gd name="connsiteY9" fmla="*/ 1058786 h 1058786"/>
              <a:gd name="connsiteX10" fmla="*/ 2129033 w 3027682"/>
              <a:gd name="connsiteY10" fmla="*/ 1058786 h 1058786"/>
              <a:gd name="connsiteX11" fmla="*/ 1513841 w 3027682"/>
              <a:gd name="connsiteY11" fmla="*/ 1058786 h 1058786"/>
              <a:gd name="connsiteX12" fmla="*/ 818407 w 3027682"/>
              <a:gd name="connsiteY12" fmla="*/ 1058786 h 1058786"/>
              <a:gd name="connsiteX13" fmla="*/ 176468 w 3027682"/>
              <a:gd name="connsiteY13" fmla="*/ 1058786 h 1058786"/>
              <a:gd name="connsiteX14" fmla="*/ 0 w 3027682"/>
              <a:gd name="connsiteY14" fmla="*/ 882318 h 1058786"/>
              <a:gd name="connsiteX15" fmla="*/ 0 w 3027682"/>
              <a:gd name="connsiteY15" fmla="*/ 536452 h 1058786"/>
              <a:gd name="connsiteX16" fmla="*/ 0 w 3027682"/>
              <a:gd name="connsiteY16" fmla="*/ 176468 h 105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27682" h="1058786" extrusionOk="0">
                <a:moveTo>
                  <a:pt x="0" y="176468"/>
                </a:moveTo>
                <a:cubicBezTo>
                  <a:pt x="11040" y="80318"/>
                  <a:pt x="74927" y="-5489"/>
                  <a:pt x="176468" y="0"/>
                </a:cubicBezTo>
                <a:cubicBezTo>
                  <a:pt x="329983" y="-802"/>
                  <a:pt x="638182" y="1296"/>
                  <a:pt x="791660" y="0"/>
                </a:cubicBezTo>
                <a:cubicBezTo>
                  <a:pt x="945138" y="-1296"/>
                  <a:pt x="1120210" y="6847"/>
                  <a:pt x="1433599" y="0"/>
                </a:cubicBezTo>
                <a:cubicBezTo>
                  <a:pt x="1746988" y="-6847"/>
                  <a:pt x="1744827" y="-29694"/>
                  <a:pt x="2048790" y="0"/>
                </a:cubicBezTo>
                <a:cubicBezTo>
                  <a:pt x="2352753" y="29694"/>
                  <a:pt x="2569169" y="-33261"/>
                  <a:pt x="2851214" y="0"/>
                </a:cubicBezTo>
                <a:cubicBezTo>
                  <a:pt x="2954412" y="1311"/>
                  <a:pt x="3032312" y="73447"/>
                  <a:pt x="3027682" y="176468"/>
                </a:cubicBezTo>
                <a:cubicBezTo>
                  <a:pt x="3026172" y="278428"/>
                  <a:pt x="3026045" y="429291"/>
                  <a:pt x="3027682" y="515276"/>
                </a:cubicBezTo>
                <a:cubicBezTo>
                  <a:pt x="3029319" y="601261"/>
                  <a:pt x="3021137" y="748991"/>
                  <a:pt x="3027682" y="882318"/>
                </a:cubicBezTo>
                <a:cubicBezTo>
                  <a:pt x="3033013" y="985938"/>
                  <a:pt x="2960338" y="1044276"/>
                  <a:pt x="2851214" y="1058786"/>
                </a:cubicBezTo>
                <a:cubicBezTo>
                  <a:pt x="2657053" y="1058100"/>
                  <a:pt x="2377751" y="1068401"/>
                  <a:pt x="2129033" y="1058786"/>
                </a:cubicBezTo>
                <a:cubicBezTo>
                  <a:pt x="1880315" y="1049171"/>
                  <a:pt x="1683278" y="1055514"/>
                  <a:pt x="1513841" y="1058786"/>
                </a:cubicBezTo>
                <a:cubicBezTo>
                  <a:pt x="1344404" y="1062058"/>
                  <a:pt x="1035121" y="1031249"/>
                  <a:pt x="818407" y="1058786"/>
                </a:cubicBezTo>
                <a:cubicBezTo>
                  <a:pt x="601693" y="1086323"/>
                  <a:pt x="388027" y="1082402"/>
                  <a:pt x="176468" y="1058786"/>
                </a:cubicBezTo>
                <a:cubicBezTo>
                  <a:pt x="65282" y="1052924"/>
                  <a:pt x="14755" y="970684"/>
                  <a:pt x="0" y="882318"/>
                </a:cubicBezTo>
                <a:cubicBezTo>
                  <a:pt x="-12611" y="713268"/>
                  <a:pt x="1843" y="623041"/>
                  <a:pt x="0" y="536452"/>
                </a:cubicBezTo>
                <a:cubicBezTo>
                  <a:pt x="-1843" y="449863"/>
                  <a:pt x="17917" y="253729"/>
                  <a:pt x="0" y="1764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B7DE2D1-DD3D-3655-C235-A10D3117D8F2}"/>
              </a:ext>
            </a:extLst>
          </p:cNvPr>
          <p:cNvSpPr txBox="1"/>
          <p:nvPr/>
        </p:nvSpPr>
        <p:spPr>
          <a:xfrm>
            <a:off x="4128557" y="3648434"/>
            <a:ext cx="11336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lade settings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1EB94AF-D1E7-8C1B-04E0-CF6C07473B43}"/>
              </a:ext>
            </a:extLst>
          </p:cNvPr>
          <p:cNvSpPr/>
          <p:nvPr/>
        </p:nvSpPr>
        <p:spPr>
          <a:xfrm>
            <a:off x="817878" y="5711827"/>
            <a:ext cx="5112111" cy="140515"/>
          </a:xfrm>
          <a:custGeom>
            <a:avLst/>
            <a:gdLst>
              <a:gd name="connsiteX0" fmla="*/ 0 w 5112111"/>
              <a:gd name="connsiteY0" fmla="*/ 23420 h 140515"/>
              <a:gd name="connsiteX1" fmla="*/ 23420 w 5112111"/>
              <a:gd name="connsiteY1" fmla="*/ 0 h 140515"/>
              <a:gd name="connsiteX2" fmla="*/ 555273 w 5112111"/>
              <a:gd name="connsiteY2" fmla="*/ 0 h 140515"/>
              <a:gd name="connsiteX3" fmla="*/ 1137780 w 5112111"/>
              <a:gd name="connsiteY3" fmla="*/ 0 h 140515"/>
              <a:gd name="connsiteX4" fmla="*/ 1669633 w 5112111"/>
              <a:gd name="connsiteY4" fmla="*/ 0 h 140515"/>
              <a:gd name="connsiteX5" fmla="*/ 2353445 w 5112111"/>
              <a:gd name="connsiteY5" fmla="*/ 0 h 140515"/>
              <a:gd name="connsiteX6" fmla="*/ 3037256 w 5112111"/>
              <a:gd name="connsiteY6" fmla="*/ 0 h 140515"/>
              <a:gd name="connsiteX7" fmla="*/ 3771721 w 5112111"/>
              <a:gd name="connsiteY7" fmla="*/ 0 h 140515"/>
              <a:gd name="connsiteX8" fmla="*/ 4354227 w 5112111"/>
              <a:gd name="connsiteY8" fmla="*/ 0 h 140515"/>
              <a:gd name="connsiteX9" fmla="*/ 5088691 w 5112111"/>
              <a:gd name="connsiteY9" fmla="*/ 0 h 140515"/>
              <a:gd name="connsiteX10" fmla="*/ 5112111 w 5112111"/>
              <a:gd name="connsiteY10" fmla="*/ 23420 h 140515"/>
              <a:gd name="connsiteX11" fmla="*/ 5112111 w 5112111"/>
              <a:gd name="connsiteY11" fmla="*/ 117095 h 140515"/>
              <a:gd name="connsiteX12" fmla="*/ 5088691 w 5112111"/>
              <a:gd name="connsiteY12" fmla="*/ 140515 h 140515"/>
              <a:gd name="connsiteX13" fmla="*/ 4354227 w 5112111"/>
              <a:gd name="connsiteY13" fmla="*/ 140515 h 140515"/>
              <a:gd name="connsiteX14" fmla="*/ 3721068 w 5112111"/>
              <a:gd name="connsiteY14" fmla="*/ 140515 h 140515"/>
              <a:gd name="connsiteX15" fmla="*/ 3189214 w 5112111"/>
              <a:gd name="connsiteY15" fmla="*/ 140515 h 140515"/>
              <a:gd name="connsiteX16" fmla="*/ 2454750 w 5112111"/>
              <a:gd name="connsiteY16" fmla="*/ 140515 h 140515"/>
              <a:gd name="connsiteX17" fmla="*/ 1720286 w 5112111"/>
              <a:gd name="connsiteY17" fmla="*/ 140515 h 140515"/>
              <a:gd name="connsiteX18" fmla="*/ 1087127 w 5112111"/>
              <a:gd name="connsiteY18" fmla="*/ 140515 h 140515"/>
              <a:gd name="connsiteX19" fmla="*/ 23420 w 5112111"/>
              <a:gd name="connsiteY19" fmla="*/ 140515 h 140515"/>
              <a:gd name="connsiteX20" fmla="*/ 0 w 5112111"/>
              <a:gd name="connsiteY20" fmla="*/ 117095 h 140515"/>
              <a:gd name="connsiteX21" fmla="*/ 0 w 5112111"/>
              <a:gd name="connsiteY21" fmla="*/ 23420 h 140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112111" h="140515" extrusionOk="0">
                <a:moveTo>
                  <a:pt x="0" y="23420"/>
                </a:moveTo>
                <a:cubicBezTo>
                  <a:pt x="1700" y="10687"/>
                  <a:pt x="9106" y="-1855"/>
                  <a:pt x="23420" y="0"/>
                </a:cubicBezTo>
                <a:cubicBezTo>
                  <a:pt x="262986" y="-19604"/>
                  <a:pt x="403359" y="14946"/>
                  <a:pt x="555273" y="0"/>
                </a:cubicBezTo>
                <a:cubicBezTo>
                  <a:pt x="707187" y="-14946"/>
                  <a:pt x="977072" y="-11374"/>
                  <a:pt x="1137780" y="0"/>
                </a:cubicBezTo>
                <a:cubicBezTo>
                  <a:pt x="1298488" y="11374"/>
                  <a:pt x="1431292" y="19894"/>
                  <a:pt x="1669633" y="0"/>
                </a:cubicBezTo>
                <a:cubicBezTo>
                  <a:pt x="1907974" y="-19894"/>
                  <a:pt x="2083801" y="-1058"/>
                  <a:pt x="2353445" y="0"/>
                </a:cubicBezTo>
                <a:cubicBezTo>
                  <a:pt x="2623089" y="1058"/>
                  <a:pt x="2749884" y="-34079"/>
                  <a:pt x="3037256" y="0"/>
                </a:cubicBezTo>
                <a:cubicBezTo>
                  <a:pt x="3324628" y="34079"/>
                  <a:pt x="3555737" y="1193"/>
                  <a:pt x="3771721" y="0"/>
                </a:cubicBezTo>
                <a:cubicBezTo>
                  <a:pt x="3987705" y="-1193"/>
                  <a:pt x="4179710" y="-3985"/>
                  <a:pt x="4354227" y="0"/>
                </a:cubicBezTo>
                <a:cubicBezTo>
                  <a:pt x="4528744" y="3985"/>
                  <a:pt x="4896985" y="10510"/>
                  <a:pt x="5088691" y="0"/>
                </a:cubicBezTo>
                <a:cubicBezTo>
                  <a:pt x="5103452" y="2109"/>
                  <a:pt x="5113065" y="9298"/>
                  <a:pt x="5112111" y="23420"/>
                </a:cubicBezTo>
                <a:cubicBezTo>
                  <a:pt x="5110736" y="42683"/>
                  <a:pt x="5113359" y="79539"/>
                  <a:pt x="5112111" y="117095"/>
                </a:cubicBezTo>
                <a:cubicBezTo>
                  <a:pt x="5112582" y="132331"/>
                  <a:pt x="5103057" y="142198"/>
                  <a:pt x="5088691" y="140515"/>
                </a:cubicBezTo>
                <a:cubicBezTo>
                  <a:pt x="4860108" y="129160"/>
                  <a:pt x="4527478" y="159165"/>
                  <a:pt x="4354227" y="140515"/>
                </a:cubicBezTo>
                <a:cubicBezTo>
                  <a:pt x="4180976" y="121865"/>
                  <a:pt x="3945143" y="146470"/>
                  <a:pt x="3721068" y="140515"/>
                </a:cubicBezTo>
                <a:cubicBezTo>
                  <a:pt x="3496993" y="134560"/>
                  <a:pt x="3422162" y="139662"/>
                  <a:pt x="3189214" y="140515"/>
                </a:cubicBezTo>
                <a:cubicBezTo>
                  <a:pt x="2956266" y="141368"/>
                  <a:pt x="2773421" y="111188"/>
                  <a:pt x="2454750" y="140515"/>
                </a:cubicBezTo>
                <a:cubicBezTo>
                  <a:pt x="2136079" y="169842"/>
                  <a:pt x="1896444" y="155818"/>
                  <a:pt x="1720286" y="140515"/>
                </a:cubicBezTo>
                <a:cubicBezTo>
                  <a:pt x="1544128" y="125212"/>
                  <a:pt x="1239119" y="140306"/>
                  <a:pt x="1087127" y="140515"/>
                </a:cubicBezTo>
                <a:cubicBezTo>
                  <a:pt x="935135" y="140724"/>
                  <a:pt x="456454" y="133046"/>
                  <a:pt x="23420" y="140515"/>
                </a:cubicBezTo>
                <a:cubicBezTo>
                  <a:pt x="10722" y="141039"/>
                  <a:pt x="-1558" y="128187"/>
                  <a:pt x="0" y="117095"/>
                </a:cubicBezTo>
                <a:cubicBezTo>
                  <a:pt x="3132" y="79002"/>
                  <a:pt x="-3246" y="65885"/>
                  <a:pt x="0" y="23420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BCD99584-665C-6306-9BE2-85EC54706C1E}"/>
              </a:ext>
            </a:extLst>
          </p:cNvPr>
          <p:cNvSpPr/>
          <p:nvPr/>
        </p:nvSpPr>
        <p:spPr>
          <a:xfrm>
            <a:off x="817878" y="5265440"/>
            <a:ext cx="3625639" cy="374789"/>
          </a:xfrm>
          <a:custGeom>
            <a:avLst/>
            <a:gdLst>
              <a:gd name="connsiteX0" fmla="*/ 0 w 3625639"/>
              <a:gd name="connsiteY0" fmla="*/ 62466 h 374789"/>
              <a:gd name="connsiteX1" fmla="*/ 62466 w 3625639"/>
              <a:gd name="connsiteY1" fmla="*/ 0 h 374789"/>
              <a:gd name="connsiteX2" fmla="*/ 575903 w 3625639"/>
              <a:gd name="connsiteY2" fmla="*/ 0 h 374789"/>
              <a:gd name="connsiteX3" fmla="*/ 1124347 w 3625639"/>
              <a:gd name="connsiteY3" fmla="*/ 0 h 374789"/>
              <a:gd name="connsiteX4" fmla="*/ 1637784 w 3625639"/>
              <a:gd name="connsiteY4" fmla="*/ 0 h 374789"/>
              <a:gd name="connsiteX5" fmla="*/ 2256242 w 3625639"/>
              <a:gd name="connsiteY5" fmla="*/ 0 h 374789"/>
              <a:gd name="connsiteX6" fmla="*/ 2874701 w 3625639"/>
              <a:gd name="connsiteY6" fmla="*/ 0 h 374789"/>
              <a:gd name="connsiteX7" fmla="*/ 3563173 w 3625639"/>
              <a:gd name="connsiteY7" fmla="*/ 0 h 374789"/>
              <a:gd name="connsiteX8" fmla="*/ 3625639 w 3625639"/>
              <a:gd name="connsiteY8" fmla="*/ 62466 h 374789"/>
              <a:gd name="connsiteX9" fmla="*/ 3625639 w 3625639"/>
              <a:gd name="connsiteY9" fmla="*/ 312323 h 374789"/>
              <a:gd name="connsiteX10" fmla="*/ 3563173 w 3625639"/>
              <a:gd name="connsiteY10" fmla="*/ 374789 h 374789"/>
              <a:gd name="connsiteX11" fmla="*/ 2944715 w 3625639"/>
              <a:gd name="connsiteY11" fmla="*/ 374789 h 374789"/>
              <a:gd name="connsiteX12" fmla="*/ 2326257 w 3625639"/>
              <a:gd name="connsiteY12" fmla="*/ 374789 h 374789"/>
              <a:gd name="connsiteX13" fmla="*/ 1742805 w 3625639"/>
              <a:gd name="connsiteY13" fmla="*/ 374789 h 374789"/>
              <a:gd name="connsiteX14" fmla="*/ 1159354 w 3625639"/>
              <a:gd name="connsiteY14" fmla="*/ 374789 h 374789"/>
              <a:gd name="connsiteX15" fmla="*/ 645917 w 3625639"/>
              <a:gd name="connsiteY15" fmla="*/ 374789 h 374789"/>
              <a:gd name="connsiteX16" fmla="*/ 62466 w 3625639"/>
              <a:gd name="connsiteY16" fmla="*/ 374789 h 374789"/>
              <a:gd name="connsiteX17" fmla="*/ 0 w 3625639"/>
              <a:gd name="connsiteY17" fmla="*/ 312323 h 374789"/>
              <a:gd name="connsiteX18" fmla="*/ 0 w 3625639"/>
              <a:gd name="connsiteY18" fmla="*/ 62466 h 37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25639" h="374789" extrusionOk="0">
                <a:moveTo>
                  <a:pt x="0" y="62466"/>
                </a:moveTo>
                <a:cubicBezTo>
                  <a:pt x="6656" y="28757"/>
                  <a:pt x="23667" y="-5786"/>
                  <a:pt x="62466" y="0"/>
                </a:cubicBezTo>
                <a:cubicBezTo>
                  <a:pt x="265500" y="8747"/>
                  <a:pt x="432231" y="5038"/>
                  <a:pt x="575903" y="0"/>
                </a:cubicBezTo>
                <a:cubicBezTo>
                  <a:pt x="719575" y="-5038"/>
                  <a:pt x="996486" y="20399"/>
                  <a:pt x="1124347" y="0"/>
                </a:cubicBezTo>
                <a:cubicBezTo>
                  <a:pt x="1252208" y="-20399"/>
                  <a:pt x="1389214" y="-14097"/>
                  <a:pt x="1637784" y="0"/>
                </a:cubicBezTo>
                <a:cubicBezTo>
                  <a:pt x="1886354" y="14097"/>
                  <a:pt x="2132378" y="8823"/>
                  <a:pt x="2256242" y="0"/>
                </a:cubicBezTo>
                <a:cubicBezTo>
                  <a:pt x="2380106" y="-8823"/>
                  <a:pt x="2650428" y="-18553"/>
                  <a:pt x="2874701" y="0"/>
                </a:cubicBezTo>
                <a:cubicBezTo>
                  <a:pt x="3098974" y="18553"/>
                  <a:pt x="3376950" y="24922"/>
                  <a:pt x="3563173" y="0"/>
                </a:cubicBezTo>
                <a:cubicBezTo>
                  <a:pt x="3603697" y="5650"/>
                  <a:pt x="3620568" y="22798"/>
                  <a:pt x="3625639" y="62466"/>
                </a:cubicBezTo>
                <a:cubicBezTo>
                  <a:pt x="3613559" y="122814"/>
                  <a:pt x="3632902" y="190704"/>
                  <a:pt x="3625639" y="312323"/>
                </a:cubicBezTo>
                <a:cubicBezTo>
                  <a:pt x="3625011" y="339283"/>
                  <a:pt x="3597672" y="372141"/>
                  <a:pt x="3563173" y="374789"/>
                </a:cubicBezTo>
                <a:cubicBezTo>
                  <a:pt x="3383356" y="355191"/>
                  <a:pt x="3233898" y="396255"/>
                  <a:pt x="2944715" y="374789"/>
                </a:cubicBezTo>
                <a:cubicBezTo>
                  <a:pt x="2655532" y="353323"/>
                  <a:pt x="2628589" y="364301"/>
                  <a:pt x="2326257" y="374789"/>
                </a:cubicBezTo>
                <a:cubicBezTo>
                  <a:pt x="2023925" y="385277"/>
                  <a:pt x="1914542" y="374838"/>
                  <a:pt x="1742805" y="374789"/>
                </a:cubicBezTo>
                <a:cubicBezTo>
                  <a:pt x="1571068" y="374740"/>
                  <a:pt x="1416655" y="403512"/>
                  <a:pt x="1159354" y="374789"/>
                </a:cubicBezTo>
                <a:cubicBezTo>
                  <a:pt x="902053" y="346066"/>
                  <a:pt x="898996" y="387909"/>
                  <a:pt x="645917" y="374789"/>
                </a:cubicBezTo>
                <a:cubicBezTo>
                  <a:pt x="392838" y="361669"/>
                  <a:pt x="306627" y="361407"/>
                  <a:pt x="62466" y="374789"/>
                </a:cubicBezTo>
                <a:cubicBezTo>
                  <a:pt x="32461" y="373835"/>
                  <a:pt x="6715" y="351597"/>
                  <a:pt x="0" y="312323"/>
                </a:cubicBezTo>
                <a:cubicBezTo>
                  <a:pt x="-6816" y="223798"/>
                  <a:pt x="10741" y="164436"/>
                  <a:pt x="0" y="62466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D6337B5-CF44-50F3-2B12-7CE99513BFD4}"/>
              </a:ext>
            </a:extLst>
          </p:cNvPr>
          <p:cNvSpPr txBox="1"/>
          <p:nvPr/>
        </p:nvSpPr>
        <p:spPr>
          <a:xfrm>
            <a:off x="4370287" y="5224173"/>
            <a:ext cx="18273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lue from transformed blade outpu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884AE367-10C5-B7C7-6A5A-76D4B9F42E65}"/>
              </a:ext>
            </a:extLst>
          </p:cNvPr>
          <p:cNvSpPr txBox="1">
            <a:spLocks/>
          </p:cNvSpPr>
          <p:nvPr/>
        </p:nvSpPr>
        <p:spPr>
          <a:xfrm>
            <a:off x="564243" y="1492727"/>
            <a:ext cx="9725984" cy="6945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nspecting the schema, we can find “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Microsoft.Solutions.GraphApiControl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”, or </a:t>
            </a: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en cooler “</a:t>
            </a:r>
            <a:r>
              <a:rPr lang="en-US" sz="2000" b="1" dirty="0" err="1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crosoft.Solutions.BladeInvokeControl</a:t>
            </a: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”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E7BAFF43-FFCB-6767-040F-1DCD38DB22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3336" y="5320084"/>
            <a:ext cx="2716814" cy="572886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45061045-B61B-CC07-A442-D70FD3288A64}"/>
              </a:ext>
            </a:extLst>
          </p:cNvPr>
          <p:cNvSpPr txBox="1"/>
          <p:nvPr/>
        </p:nvSpPr>
        <p:spPr>
          <a:xfrm>
            <a:off x="5865917" y="5649662"/>
            <a:ext cx="13051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I element colo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B0801E8-F853-55A1-B0BF-B346510C4F95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5B8E605-11A7-0CB2-C1CC-BBF02661858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4B00F8B-7FD8-FC2A-1346-44C3FCACD2D2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E5E9B1B-93A4-186C-9246-7C4BB3B5A5FB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7F4EEAB-9733-55D0-2B7C-8E14E8503ECF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11" name="Freeform 78">
                <a:extLst>
                  <a:ext uri="{FF2B5EF4-FFF2-40B4-BE49-F238E27FC236}">
                    <a16:creationId xmlns:a16="http://schemas.microsoft.com/office/drawing/2014/main" id="{DE257E88-44CE-923B-68E9-D7350A809B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" name="Freeform 79">
                <a:extLst>
                  <a:ext uri="{FF2B5EF4-FFF2-40B4-BE49-F238E27FC236}">
                    <a16:creationId xmlns:a16="http://schemas.microsoft.com/office/drawing/2014/main" id="{E5147EF5-8090-55B1-D450-52537298E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" name="Freeform 80">
                <a:extLst>
                  <a:ext uri="{FF2B5EF4-FFF2-40B4-BE49-F238E27FC236}">
                    <a16:creationId xmlns:a16="http://schemas.microsoft.com/office/drawing/2014/main" id="{C6AA136D-8C00-5F3A-C612-59E855BD1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" name="Freeform 81">
                <a:extLst>
                  <a:ext uri="{FF2B5EF4-FFF2-40B4-BE49-F238E27FC236}">
                    <a16:creationId xmlns:a16="http://schemas.microsoft.com/office/drawing/2014/main" id="{FB1F8777-5061-136A-01CB-169E1DD7B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" name="Freeform 82">
                <a:extLst>
                  <a:ext uri="{FF2B5EF4-FFF2-40B4-BE49-F238E27FC236}">
                    <a16:creationId xmlns:a16="http://schemas.microsoft.com/office/drawing/2014/main" id="{6CBE3A71-1EA5-7CDA-6C26-1205C0D99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6" name="Freeform 83">
                <a:extLst>
                  <a:ext uri="{FF2B5EF4-FFF2-40B4-BE49-F238E27FC236}">
                    <a16:creationId xmlns:a16="http://schemas.microsoft.com/office/drawing/2014/main" id="{B3264779-B1E7-4464-1572-4372CF38E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" name="Freeform 84">
                <a:extLst>
                  <a:ext uri="{FF2B5EF4-FFF2-40B4-BE49-F238E27FC236}">
                    <a16:creationId xmlns:a16="http://schemas.microsoft.com/office/drawing/2014/main" id="{CC85005A-D5F9-D18A-B386-120AB406FB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Freeform 85">
                <a:extLst>
                  <a:ext uri="{FF2B5EF4-FFF2-40B4-BE49-F238E27FC236}">
                    <a16:creationId xmlns:a16="http://schemas.microsoft.com/office/drawing/2014/main" id="{9371E5EE-58EF-1A45-AA0E-2AB25DB15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" name="Freeform 86">
                <a:extLst>
                  <a:ext uri="{FF2B5EF4-FFF2-40B4-BE49-F238E27FC236}">
                    <a16:creationId xmlns:a16="http://schemas.microsoft.com/office/drawing/2014/main" id="{3C4445A3-30BD-618B-9F17-60BD84821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" name="Freeform 87">
                <a:extLst>
                  <a:ext uri="{FF2B5EF4-FFF2-40B4-BE49-F238E27FC236}">
                    <a16:creationId xmlns:a16="http://schemas.microsoft.com/office/drawing/2014/main" id="{F7811308-ABB9-701F-BFE1-5F88C89497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Freeform 88">
                <a:extLst>
                  <a:ext uri="{FF2B5EF4-FFF2-40B4-BE49-F238E27FC236}">
                    <a16:creationId xmlns:a16="http://schemas.microsoft.com/office/drawing/2014/main" id="{211C0002-6259-5151-6163-18E516C48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" name="Freeform 89">
                <a:extLst>
                  <a:ext uri="{FF2B5EF4-FFF2-40B4-BE49-F238E27FC236}">
                    <a16:creationId xmlns:a16="http://schemas.microsoft.com/office/drawing/2014/main" id="{DBB55FB0-68EF-43A5-960F-B59926440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DA5BED8-A5F6-A40C-AE4A-1B3B15AD2787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1C91915-2321-6822-468C-9319D565FE3A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0" name="Rectángulo redondeado 14">
              <a:extLst>
                <a:ext uri="{FF2B5EF4-FFF2-40B4-BE49-F238E27FC236}">
                  <a16:creationId xmlns:a16="http://schemas.microsoft.com/office/drawing/2014/main" id="{F7D9FC3C-81B8-1BAE-4840-958A61BB7352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Rectángulo 12">
              <a:extLst>
                <a:ext uri="{FF2B5EF4-FFF2-40B4-BE49-F238E27FC236}">
                  <a16:creationId xmlns:a16="http://schemas.microsoft.com/office/drawing/2014/main" id="{8E2CCE8B-F133-806C-7677-E968D6542FCD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UI to Entra 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41607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14128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Blades are also described in the </a:t>
            </a: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GitHub azure/</a:t>
            </a: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portaldocs</a:t>
            </a: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 repo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  <a:hlinkClick r:id="rId3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How to use Azure Portal blades in the Template Specs UI (gatevnotes.com)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  <a:hlinkClick r:id="rId4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How to uncover the names and parameters of blades in Azure Portal (gatevnotes.com)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3AE0D08-2F2C-0825-D4EC-E03E49A0740D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6" name="Rectángulo redondeado 14">
              <a:extLst>
                <a:ext uri="{FF2B5EF4-FFF2-40B4-BE49-F238E27FC236}">
                  <a16:creationId xmlns:a16="http://schemas.microsoft.com/office/drawing/2014/main" id="{1A2B9F26-3D8B-D475-EC95-7D2213221B01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Rectángulo 12">
              <a:extLst>
                <a:ext uri="{FF2B5EF4-FFF2-40B4-BE49-F238E27FC236}">
                  <a16:creationId xmlns:a16="http://schemas.microsoft.com/office/drawing/2014/main" id="{9AA08C52-4FC2-7A2D-EB0A-15410E7F273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 blad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16890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2" y="163048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Now that we know what Azure Template Specs are, lets check how can they be used.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5" name="Picture 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B3C69982-4AAB-793E-BBFF-8B4E1A2BB3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1855" y="4313570"/>
            <a:ext cx="1963754" cy="196375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C0698C19-E0FD-5AF0-B026-2B62E65D06F5}"/>
              </a:ext>
            </a:extLst>
          </p:cNvPr>
          <p:cNvGrpSpPr/>
          <p:nvPr/>
        </p:nvGrpSpPr>
        <p:grpSpPr>
          <a:xfrm>
            <a:off x="7478693" y="3149521"/>
            <a:ext cx="1025861" cy="1089287"/>
            <a:chOff x="6618867" y="3226748"/>
            <a:chExt cx="1025861" cy="108928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6B3B629-B8C8-15FB-A48B-384C2983C6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367CC770-08FB-8AE4-530A-478819B22F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28170BA1-E1FC-7D2C-BA98-3C42F65E50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B45E0BB-2B32-BB11-85B1-A3A74A8D81C8}"/>
              </a:ext>
            </a:extLst>
          </p:cNvPr>
          <p:cNvGrpSpPr/>
          <p:nvPr/>
        </p:nvGrpSpPr>
        <p:grpSpPr>
          <a:xfrm>
            <a:off x="4002340" y="2355237"/>
            <a:ext cx="2524402" cy="978847"/>
            <a:chOff x="5159830" y="2351275"/>
            <a:chExt cx="2524402" cy="97884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3FF40BB-26DA-E3DD-6351-24DE54E3BD81}"/>
                </a:ext>
              </a:extLst>
            </p:cNvPr>
            <p:cNvGrpSpPr/>
            <p:nvPr/>
          </p:nvGrpSpPr>
          <p:grpSpPr>
            <a:xfrm>
              <a:off x="6579655" y="2360890"/>
              <a:ext cx="1015441" cy="969232"/>
              <a:chOff x="3409768" y="2600757"/>
              <a:chExt cx="1571305" cy="1560279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219DB6DD-594A-8956-2C7D-A848844A957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" name="Picture 12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91F8EF9C-1BEE-8152-85FD-C1F244475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48D46E8A-F3EF-5447-900A-72F0A07C1A12}"/>
                </a:ext>
              </a:extLst>
            </p:cNvPr>
            <p:cNvSpPr/>
            <p:nvPr/>
          </p:nvSpPr>
          <p:spPr>
            <a:xfrm>
              <a:off x="5159830" y="2351275"/>
              <a:ext cx="2524402" cy="870972"/>
            </a:xfrm>
            <a:custGeom>
              <a:avLst/>
              <a:gdLst>
                <a:gd name="connsiteX0" fmla="*/ 0 w 2524402"/>
                <a:gd name="connsiteY0" fmla="*/ 145165 h 870972"/>
                <a:gd name="connsiteX1" fmla="*/ 145165 w 2524402"/>
                <a:gd name="connsiteY1" fmla="*/ 0 h 870972"/>
                <a:gd name="connsiteX2" fmla="*/ 748364 w 2524402"/>
                <a:gd name="connsiteY2" fmla="*/ 0 h 870972"/>
                <a:gd name="connsiteX3" fmla="*/ 1284542 w 2524402"/>
                <a:gd name="connsiteY3" fmla="*/ 0 h 870972"/>
                <a:gd name="connsiteX4" fmla="*/ 1798378 w 2524402"/>
                <a:gd name="connsiteY4" fmla="*/ 0 h 870972"/>
                <a:gd name="connsiteX5" fmla="*/ 2379237 w 2524402"/>
                <a:gd name="connsiteY5" fmla="*/ 0 h 870972"/>
                <a:gd name="connsiteX6" fmla="*/ 2524402 w 2524402"/>
                <a:gd name="connsiteY6" fmla="*/ 145165 h 870972"/>
                <a:gd name="connsiteX7" fmla="*/ 2524402 w 2524402"/>
                <a:gd name="connsiteY7" fmla="*/ 725807 h 870972"/>
                <a:gd name="connsiteX8" fmla="*/ 2379237 w 2524402"/>
                <a:gd name="connsiteY8" fmla="*/ 870972 h 870972"/>
                <a:gd name="connsiteX9" fmla="*/ 1865400 w 2524402"/>
                <a:gd name="connsiteY9" fmla="*/ 870972 h 870972"/>
                <a:gd name="connsiteX10" fmla="*/ 1306882 w 2524402"/>
                <a:gd name="connsiteY10" fmla="*/ 870972 h 870972"/>
                <a:gd name="connsiteX11" fmla="*/ 770705 w 2524402"/>
                <a:gd name="connsiteY11" fmla="*/ 870972 h 870972"/>
                <a:gd name="connsiteX12" fmla="*/ 145165 w 2524402"/>
                <a:gd name="connsiteY12" fmla="*/ 870972 h 870972"/>
                <a:gd name="connsiteX13" fmla="*/ 0 w 2524402"/>
                <a:gd name="connsiteY13" fmla="*/ 725807 h 870972"/>
                <a:gd name="connsiteX14" fmla="*/ 0 w 2524402"/>
                <a:gd name="connsiteY14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2440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00458" y="18209"/>
                    <a:pt x="463932" y="-22702"/>
                    <a:pt x="748364" y="0"/>
                  </a:cubicBezTo>
                  <a:cubicBezTo>
                    <a:pt x="1032796" y="22702"/>
                    <a:pt x="1144762" y="-11028"/>
                    <a:pt x="1284542" y="0"/>
                  </a:cubicBezTo>
                  <a:cubicBezTo>
                    <a:pt x="1424322" y="11028"/>
                    <a:pt x="1594799" y="-3746"/>
                    <a:pt x="1798378" y="0"/>
                  </a:cubicBezTo>
                  <a:cubicBezTo>
                    <a:pt x="2001957" y="3746"/>
                    <a:pt x="2179491" y="-12282"/>
                    <a:pt x="2379237" y="0"/>
                  </a:cubicBezTo>
                  <a:cubicBezTo>
                    <a:pt x="2467832" y="-17333"/>
                    <a:pt x="2518177" y="64040"/>
                    <a:pt x="2524402" y="145165"/>
                  </a:cubicBezTo>
                  <a:cubicBezTo>
                    <a:pt x="2523724" y="283097"/>
                    <a:pt x="2542239" y="436287"/>
                    <a:pt x="2524402" y="725807"/>
                  </a:cubicBezTo>
                  <a:cubicBezTo>
                    <a:pt x="2523003" y="808293"/>
                    <a:pt x="2453448" y="864058"/>
                    <a:pt x="2379237" y="870972"/>
                  </a:cubicBezTo>
                  <a:cubicBezTo>
                    <a:pt x="2151335" y="891722"/>
                    <a:pt x="1999314" y="863341"/>
                    <a:pt x="1865400" y="870972"/>
                  </a:cubicBezTo>
                  <a:cubicBezTo>
                    <a:pt x="1731486" y="878603"/>
                    <a:pt x="1564917" y="867392"/>
                    <a:pt x="1306882" y="870972"/>
                  </a:cubicBezTo>
                  <a:cubicBezTo>
                    <a:pt x="1048847" y="874552"/>
                    <a:pt x="945230" y="879456"/>
                    <a:pt x="770705" y="870972"/>
                  </a:cubicBezTo>
                  <a:cubicBezTo>
                    <a:pt x="596180" y="862488"/>
                    <a:pt x="407705" y="881297"/>
                    <a:pt x="145165" y="870972"/>
                  </a:cubicBezTo>
                  <a:cubicBezTo>
                    <a:pt x="71516" y="862874"/>
                    <a:pt x="-7474" y="803090"/>
                    <a:pt x="0" y="725807"/>
                  </a:cubicBezTo>
                  <a:cubicBezTo>
                    <a:pt x="-12566" y="560420"/>
                    <a:pt x="21171" y="359004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ortal Users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03B6213-071E-8360-55C9-2E76F5618D4B}"/>
              </a:ext>
            </a:extLst>
          </p:cNvPr>
          <p:cNvGrpSpPr/>
          <p:nvPr/>
        </p:nvGrpSpPr>
        <p:grpSpPr>
          <a:xfrm>
            <a:off x="290310" y="3266167"/>
            <a:ext cx="6236432" cy="913743"/>
            <a:chOff x="1447800" y="3262205"/>
            <a:chExt cx="6236432" cy="913743"/>
          </a:xfrm>
        </p:grpSpPr>
        <p:pic>
          <p:nvPicPr>
            <p:cNvPr id="35" name="Picture 2">
              <a:extLst>
                <a:ext uri="{FF2B5EF4-FFF2-40B4-BE49-F238E27FC236}">
                  <a16:creationId xmlns:a16="http://schemas.microsoft.com/office/drawing/2014/main" id="{DC9A4960-2CB1-493F-32B5-BF486C55C8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354" y="3262205"/>
              <a:ext cx="913743" cy="913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2A659272-B513-58A4-7248-1AAEA048A774}"/>
                </a:ext>
              </a:extLst>
            </p:cNvPr>
            <p:cNvSpPr/>
            <p:nvPr/>
          </p:nvSpPr>
          <p:spPr>
            <a:xfrm>
              <a:off x="1447800" y="3283591"/>
              <a:ext cx="6236432" cy="870972"/>
            </a:xfrm>
            <a:custGeom>
              <a:avLst/>
              <a:gdLst>
                <a:gd name="connsiteX0" fmla="*/ 0 w 6236432"/>
                <a:gd name="connsiteY0" fmla="*/ 145165 h 870972"/>
                <a:gd name="connsiteX1" fmla="*/ 145165 w 6236432"/>
                <a:gd name="connsiteY1" fmla="*/ 0 h 870972"/>
                <a:gd name="connsiteX2" fmla="*/ 924765 w 6236432"/>
                <a:gd name="connsiteY2" fmla="*/ 0 h 870972"/>
                <a:gd name="connsiteX3" fmla="*/ 1525982 w 6236432"/>
                <a:gd name="connsiteY3" fmla="*/ 0 h 870972"/>
                <a:gd name="connsiteX4" fmla="*/ 2067738 w 6236432"/>
                <a:gd name="connsiteY4" fmla="*/ 0 h 870972"/>
                <a:gd name="connsiteX5" fmla="*/ 2787877 w 6236432"/>
                <a:gd name="connsiteY5" fmla="*/ 0 h 870972"/>
                <a:gd name="connsiteX6" fmla="*/ 3389094 w 6236432"/>
                <a:gd name="connsiteY6" fmla="*/ 0 h 870972"/>
                <a:gd name="connsiteX7" fmla="*/ 4168694 w 6236432"/>
                <a:gd name="connsiteY7" fmla="*/ 0 h 870972"/>
                <a:gd name="connsiteX8" fmla="*/ 4710450 w 6236432"/>
                <a:gd name="connsiteY8" fmla="*/ 0 h 870972"/>
                <a:gd name="connsiteX9" fmla="*/ 5490050 w 6236432"/>
                <a:gd name="connsiteY9" fmla="*/ 0 h 870972"/>
                <a:gd name="connsiteX10" fmla="*/ 6091267 w 6236432"/>
                <a:gd name="connsiteY10" fmla="*/ 0 h 870972"/>
                <a:gd name="connsiteX11" fmla="*/ 6236432 w 6236432"/>
                <a:gd name="connsiteY11" fmla="*/ 145165 h 870972"/>
                <a:gd name="connsiteX12" fmla="*/ 6236432 w 6236432"/>
                <a:gd name="connsiteY12" fmla="*/ 725807 h 870972"/>
                <a:gd name="connsiteX13" fmla="*/ 6091267 w 6236432"/>
                <a:gd name="connsiteY13" fmla="*/ 870972 h 870972"/>
                <a:gd name="connsiteX14" fmla="*/ 5430589 w 6236432"/>
                <a:gd name="connsiteY14" fmla="*/ 870972 h 870972"/>
                <a:gd name="connsiteX15" fmla="*/ 4769911 w 6236432"/>
                <a:gd name="connsiteY15" fmla="*/ 870972 h 870972"/>
                <a:gd name="connsiteX16" fmla="*/ 3990311 w 6236432"/>
                <a:gd name="connsiteY16" fmla="*/ 870972 h 870972"/>
                <a:gd name="connsiteX17" fmla="*/ 3329633 w 6236432"/>
                <a:gd name="connsiteY17" fmla="*/ 870972 h 870972"/>
                <a:gd name="connsiteX18" fmla="*/ 2847338 w 6236432"/>
                <a:gd name="connsiteY18" fmla="*/ 870972 h 870972"/>
                <a:gd name="connsiteX19" fmla="*/ 2305582 w 6236432"/>
                <a:gd name="connsiteY19" fmla="*/ 870972 h 870972"/>
                <a:gd name="connsiteX20" fmla="*/ 1525982 w 6236432"/>
                <a:gd name="connsiteY20" fmla="*/ 870972 h 870972"/>
                <a:gd name="connsiteX21" fmla="*/ 865304 w 6236432"/>
                <a:gd name="connsiteY21" fmla="*/ 870972 h 870972"/>
                <a:gd name="connsiteX22" fmla="*/ 145165 w 6236432"/>
                <a:gd name="connsiteY22" fmla="*/ 870972 h 870972"/>
                <a:gd name="connsiteX23" fmla="*/ 0 w 6236432"/>
                <a:gd name="connsiteY23" fmla="*/ 725807 h 870972"/>
                <a:gd name="connsiteX24" fmla="*/ 0 w 6236432"/>
                <a:gd name="connsiteY24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3643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517727" y="20843"/>
                    <a:pt x="628589" y="-20231"/>
                    <a:pt x="924765" y="0"/>
                  </a:cubicBezTo>
                  <a:cubicBezTo>
                    <a:pt x="1220941" y="20231"/>
                    <a:pt x="1335060" y="11032"/>
                    <a:pt x="1525982" y="0"/>
                  </a:cubicBezTo>
                  <a:cubicBezTo>
                    <a:pt x="1716904" y="-11032"/>
                    <a:pt x="1922366" y="-23589"/>
                    <a:pt x="2067738" y="0"/>
                  </a:cubicBezTo>
                  <a:cubicBezTo>
                    <a:pt x="2213110" y="23589"/>
                    <a:pt x="2449000" y="28805"/>
                    <a:pt x="2787877" y="0"/>
                  </a:cubicBezTo>
                  <a:cubicBezTo>
                    <a:pt x="3126754" y="-28805"/>
                    <a:pt x="3121507" y="-3469"/>
                    <a:pt x="3389094" y="0"/>
                  </a:cubicBezTo>
                  <a:cubicBezTo>
                    <a:pt x="3656681" y="3469"/>
                    <a:pt x="3782955" y="35219"/>
                    <a:pt x="4168694" y="0"/>
                  </a:cubicBezTo>
                  <a:cubicBezTo>
                    <a:pt x="4554433" y="-35219"/>
                    <a:pt x="4498937" y="131"/>
                    <a:pt x="4710450" y="0"/>
                  </a:cubicBezTo>
                  <a:cubicBezTo>
                    <a:pt x="4921963" y="-131"/>
                    <a:pt x="5157343" y="5839"/>
                    <a:pt x="5490050" y="0"/>
                  </a:cubicBezTo>
                  <a:cubicBezTo>
                    <a:pt x="5822757" y="-5839"/>
                    <a:pt x="5851435" y="8407"/>
                    <a:pt x="6091267" y="0"/>
                  </a:cubicBezTo>
                  <a:cubicBezTo>
                    <a:pt x="6163637" y="-446"/>
                    <a:pt x="6243186" y="46473"/>
                    <a:pt x="6236432" y="145165"/>
                  </a:cubicBezTo>
                  <a:cubicBezTo>
                    <a:pt x="6242131" y="373351"/>
                    <a:pt x="6253856" y="495594"/>
                    <a:pt x="6236432" y="725807"/>
                  </a:cubicBezTo>
                  <a:cubicBezTo>
                    <a:pt x="6249015" y="821392"/>
                    <a:pt x="6182646" y="861159"/>
                    <a:pt x="6091267" y="870972"/>
                  </a:cubicBezTo>
                  <a:cubicBezTo>
                    <a:pt x="5922880" y="845600"/>
                    <a:pt x="5611686" y="856693"/>
                    <a:pt x="5430589" y="870972"/>
                  </a:cubicBezTo>
                  <a:cubicBezTo>
                    <a:pt x="5249492" y="885251"/>
                    <a:pt x="4936735" y="876352"/>
                    <a:pt x="4769911" y="870972"/>
                  </a:cubicBezTo>
                  <a:cubicBezTo>
                    <a:pt x="4603087" y="865592"/>
                    <a:pt x="4203966" y="854272"/>
                    <a:pt x="3990311" y="870972"/>
                  </a:cubicBezTo>
                  <a:cubicBezTo>
                    <a:pt x="3776656" y="887672"/>
                    <a:pt x="3632581" y="892763"/>
                    <a:pt x="3329633" y="870972"/>
                  </a:cubicBezTo>
                  <a:cubicBezTo>
                    <a:pt x="3026685" y="849181"/>
                    <a:pt x="3016190" y="864735"/>
                    <a:pt x="2847338" y="870972"/>
                  </a:cubicBezTo>
                  <a:cubicBezTo>
                    <a:pt x="2678486" y="877209"/>
                    <a:pt x="2505138" y="895154"/>
                    <a:pt x="2305582" y="870972"/>
                  </a:cubicBezTo>
                  <a:cubicBezTo>
                    <a:pt x="2106026" y="846790"/>
                    <a:pt x="1810298" y="890584"/>
                    <a:pt x="1525982" y="870972"/>
                  </a:cubicBezTo>
                  <a:cubicBezTo>
                    <a:pt x="1241666" y="851360"/>
                    <a:pt x="1083598" y="901184"/>
                    <a:pt x="865304" y="870972"/>
                  </a:cubicBezTo>
                  <a:cubicBezTo>
                    <a:pt x="647010" y="840760"/>
                    <a:pt x="303452" y="879368"/>
                    <a:pt x="145165" y="870972"/>
                  </a:cubicBezTo>
                  <a:cubicBezTo>
                    <a:pt x="64380" y="854445"/>
                    <a:pt x="12472" y="808580"/>
                    <a:pt x="0" y="725807"/>
                  </a:cubicBezTo>
                  <a:cubicBezTo>
                    <a:pt x="26606" y="505643"/>
                    <a:pt x="-22211" y="341303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sk: </a:t>
              </a:r>
              <a:r>
                <a:rPr lang="en-US" dirty="0" err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zureResourceManagerTemplateDeployment</a:t>
              </a:r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20AE23B-D220-AC30-9A1F-1FCE4447D838}"/>
              </a:ext>
            </a:extLst>
          </p:cNvPr>
          <p:cNvGrpSpPr/>
          <p:nvPr/>
        </p:nvGrpSpPr>
        <p:grpSpPr>
          <a:xfrm>
            <a:off x="3149600" y="4212240"/>
            <a:ext cx="3377142" cy="913743"/>
            <a:chOff x="4307090" y="4208278"/>
            <a:chExt cx="3377142" cy="913743"/>
          </a:xfrm>
        </p:grpSpPr>
        <p:pic>
          <p:nvPicPr>
            <p:cNvPr id="40" name="Picture 2">
              <a:extLst>
                <a:ext uri="{FF2B5EF4-FFF2-40B4-BE49-F238E27FC236}">
                  <a16:creationId xmlns:a16="http://schemas.microsoft.com/office/drawing/2014/main" id="{2D24DA17-1E83-4F84-FD51-3D37C7E4A2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354" y="4208278"/>
              <a:ext cx="913743" cy="913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25205857-4428-0011-87EE-BB959CA68568}"/>
                </a:ext>
              </a:extLst>
            </p:cNvPr>
            <p:cNvSpPr/>
            <p:nvPr/>
          </p:nvSpPr>
          <p:spPr>
            <a:xfrm>
              <a:off x="4307090" y="4229664"/>
              <a:ext cx="3377142" cy="870972"/>
            </a:xfrm>
            <a:custGeom>
              <a:avLst/>
              <a:gdLst>
                <a:gd name="connsiteX0" fmla="*/ 0 w 3377142"/>
                <a:gd name="connsiteY0" fmla="*/ 145165 h 870972"/>
                <a:gd name="connsiteX1" fmla="*/ 145165 w 3377142"/>
                <a:gd name="connsiteY1" fmla="*/ 0 h 870972"/>
                <a:gd name="connsiteX2" fmla="*/ 824264 w 3377142"/>
                <a:gd name="connsiteY2" fmla="*/ 0 h 870972"/>
                <a:gd name="connsiteX3" fmla="*/ 1410758 w 3377142"/>
                <a:gd name="connsiteY3" fmla="*/ 0 h 870972"/>
                <a:gd name="connsiteX4" fmla="*/ 1966384 w 3377142"/>
                <a:gd name="connsiteY4" fmla="*/ 0 h 870972"/>
                <a:gd name="connsiteX5" fmla="*/ 2614615 w 3377142"/>
                <a:gd name="connsiteY5" fmla="*/ 0 h 870972"/>
                <a:gd name="connsiteX6" fmla="*/ 3231977 w 3377142"/>
                <a:gd name="connsiteY6" fmla="*/ 0 h 870972"/>
                <a:gd name="connsiteX7" fmla="*/ 3377142 w 3377142"/>
                <a:gd name="connsiteY7" fmla="*/ 145165 h 870972"/>
                <a:gd name="connsiteX8" fmla="*/ 3377142 w 3377142"/>
                <a:gd name="connsiteY8" fmla="*/ 725807 h 870972"/>
                <a:gd name="connsiteX9" fmla="*/ 3231977 w 3377142"/>
                <a:gd name="connsiteY9" fmla="*/ 870972 h 870972"/>
                <a:gd name="connsiteX10" fmla="*/ 2614615 w 3377142"/>
                <a:gd name="connsiteY10" fmla="*/ 870972 h 870972"/>
                <a:gd name="connsiteX11" fmla="*/ 2028120 w 3377142"/>
                <a:gd name="connsiteY11" fmla="*/ 870972 h 870972"/>
                <a:gd name="connsiteX12" fmla="*/ 1349022 w 3377142"/>
                <a:gd name="connsiteY12" fmla="*/ 870972 h 870972"/>
                <a:gd name="connsiteX13" fmla="*/ 669923 w 3377142"/>
                <a:gd name="connsiteY13" fmla="*/ 870972 h 870972"/>
                <a:gd name="connsiteX14" fmla="*/ 145165 w 3377142"/>
                <a:gd name="connsiteY14" fmla="*/ 870972 h 870972"/>
                <a:gd name="connsiteX15" fmla="*/ 0 w 3377142"/>
                <a:gd name="connsiteY15" fmla="*/ 725807 h 870972"/>
                <a:gd name="connsiteX16" fmla="*/ 0 w 3377142"/>
                <a:gd name="connsiteY16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7714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60975" y="32271"/>
                    <a:pt x="535059" y="-16969"/>
                    <a:pt x="824264" y="0"/>
                  </a:cubicBezTo>
                  <a:cubicBezTo>
                    <a:pt x="1113469" y="16969"/>
                    <a:pt x="1138118" y="310"/>
                    <a:pt x="1410758" y="0"/>
                  </a:cubicBezTo>
                  <a:cubicBezTo>
                    <a:pt x="1683398" y="-310"/>
                    <a:pt x="1710301" y="20107"/>
                    <a:pt x="1966384" y="0"/>
                  </a:cubicBezTo>
                  <a:cubicBezTo>
                    <a:pt x="2222467" y="-20107"/>
                    <a:pt x="2460714" y="-24327"/>
                    <a:pt x="2614615" y="0"/>
                  </a:cubicBezTo>
                  <a:cubicBezTo>
                    <a:pt x="2768516" y="24327"/>
                    <a:pt x="3055549" y="-28289"/>
                    <a:pt x="3231977" y="0"/>
                  </a:cubicBezTo>
                  <a:cubicBezTo>
                    <a:pt x="3316191" y="-6577"/>
                    <a:pt x="3366502" y="74344"/>
                    <a:pt x="3377142" y="145165"/>
                  </a:cubicBezTo>
                  <a:cubicBezTo>
                    <a:pt x="3363144" y="324747"/>
                    <a:pt x="3385984" y="514745"/>
                    <a:pt x="3377142" y="725807"/>
                  </a:cubicBezTo>
                  <a:cubicBezTo>
                    <a:pt x="3391111" y="809338"/>
                    <a:pt x="3296751" y="868481"/>
                    <a:pt x="3231977" y="870972"/>
                  </a:cubicBezTo>
                  <a:cubicBezTo>
                    <a:pt x="3084446" y="840878"/>
                    <a:pt x="2835155" y="890646"/>
                    <a:pt x="2614615" y="870972"/>
                  </a:cubicBezTo>
                  <a:cubicBezTo>
                    <a:pt x="2394075" y="851298"/>
                    <a:pt x="2207433" y="873029"/>
                    <a:pt x="2028120" y="870972"/>
                  </a:cubicBezTo>
                  <a:cubicBezTo>
                    <a:pt x="1848807" y="868915"/>
                    <a:pt x="1611583" y="894795"/>
                    <a:pt x="1349022" y="870972"/>
                  </a:cubicBezTo>
                  <a:cubicBezTo>
                    <a:pt x="1086461" y="847149"/>
                    <a:pt x="874635" y="867622"/>
                    <a:pt x="669923" y="870972"/>
                  </a:cubicBezTo>
                  <a:cubicBezTo>
                    <a:pt x="465211" y="874322"/>
                    <a:pt x="404217" y="886759"/>
                    <a:pt x="145165" y="870972"/>
                  </a:cubicBezTo>
                  <a:cubicBezTo>
                    <a:pt x="54706" y="861280"/>
                    <a:pt x="-3061" y="801403"/>
                    <a:pt x="0" y="725807"/>
                  </a:cubicBezTo>
                  <a:cubicBezTo>
                    <a:pt x="-1635" y="483453"/>
                    <a:pt x="21514" y="270937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sk: </a:t>
              </a:r>
              <a:r>
                <a:rPr lang="en-US" i="0" dirty="0" err="1">
                  <a:solidFill>
                    <a:srgbClr val="161616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zurePowerShell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5B2D145-8249-1C40-FA8B-2AA5B1C3C8B3}"/>
              </a:ext>
            </a:extLst>
          </p:cNvPr>
          <p:cNvGrpSpPr/>
          <p:nvPr/>
        </p:nvGrpSpPr>
        <p:grpSpPr>
          <a:xfrm>
            <a:off x="8951103" y="4260322"/>
            <a:ext cx="3151997" cy="870972"/>
            <a:chOff x="4528457" y="5219932"/>
            <a:chExt cx="3155775" cy="870972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F3368DF5-B76E-B270-5D42-C47A0C92AD76}"/>
                </a:ext>
              </a:extLst>
            </p:cNvPr>
            <p:cNvSpPr/>
            <p:nvPr/>
          </p:nvSpPr>
          <p:spPr>
            <a:xfrm>
              <a:off x="4528457" y="5219932"/>
              <a:ext cx="3155775" cy="870972"/>
            </a:xfrm>
            <a:custGeom>
              <a:avLst/>
              <a:gdLst>
                <a:gd name="connsiteX0" fmla="*/ 0 w 3155775"/>
                <a:gd name="connsiteY0" fmla="*/ 145165 h 870972"/>
                <a:gd name="connsiteX1" fmla="*/ 145165 w 3155775"/>
                <a:gd name="connsiteY1" fmla="*/ 0 h 870972"/>
                <a:gd name="connsiteX2" fmla="*/ 775563 w 3155775"/>
                <a:gd name="connsiteY2" fmla="*/ 0 h 870972"/>
                <a:gd name="connsiteX3" fmla="*/ 1319997 w 3155775"/>
                <a:gd name="connsiteY3" fmla="*/ 0 h 870972"/>
                <a:gd name="connsiteX4" fmla="*/ 1835778 w 3155775"/>
                <a:gd name="connsiteY4" fmla="*/ 0 h 870972"/>
                <a:gd name="connsiteX5" fmla="*/ 2437521 w 3155775"/>
                <a:gd name="connsiteY5" fmla="*/ 0 h 870972"/>
                <a:gd name="connsiteX6" fmla="*/ 3010610 w 3155775"/>
                <a:gd name="connsiteY6" fmla="*/ 0 h 870972"/>
                <a:gd name="connsiteX7" fmla="*/ 3155775 w 3155775"/>
                <a:gd name="connsiteY7" fmla="*/ 145165 h 870972"/>
                <a:gd name="connsiteX8" fmla="*/ 3155775 w 3155775"/>
                <a:gd name="connsiteY8" fmla="*/ 725807 h 870972"/>
                <a:gd name="connsiteX9" fmla="*/ 3010610 w 3155775"/>
                <a:gd name="connsiteY9" fmla="*/ 870972 h 870972"/>
                <a:gd name="connsiteX10" fmla="*/ 2437521 w 3155775"/>
                <a:gd name="connsiteY10" fmla="*/ 870972 h 870972"/>
                <a:gd name="connsiteX11" fmla="*/ 1893086 w 3155775"/>
                <a:gd name="connsiteY11" fmla="*/ 870972 h 870972"/>
                <a:gd name="connsiteX12" fmla="*/ 1262689 w 3155775"/>
                <a:gd name="connsiteY12" fmla="*/ 870972 h 870972"/>
                <a:gd name="connsiteX13" fmla="*/ 632291 w 3155775"/>
                <a:gd name="connsiteY13" fmla="*/ 870972 h 870972"/>
                <a:gd name="connsiteX14" fmla="*/ 145165 w 3155775"/>
                <a:gd name="connsiteY14" fmla="*/ 870972 h 870972"/>
                <a:gd name="connsiteX15" fmla="*/ 0 w 3155775"/>
                <a:gd name="connsiteY15" fmla="*/ 725807 h 870972"/>
                <a:gd name="connsiteX16" fmla="*/ 0 w 3155775"/>
                <a:gd name="connsiteY16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55775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284185" y="-13822"/>
                    <a:pt x="501347" y="-23096"/>
                    <a:pt x="775563" y="0"/>
                  </a:cubicBezTo>
                  <a:cubicBezTo>
                    <a:pt x="1049779" y="23096"/>
                    <a:pt x="1169209" y="26764"/>
                    <a:pt x="1319997" y="0"/>
                  </a:cubicBezTo>
                  <a:cubicBezTo>
                    <a:pt x="1470785" y="-26764"/>
                    <a:pt x="1590965" y="-3966"/>
                    <a:pt x="1835778" y="0"/>
                  </a:cubicBezTo>
                  <a:cubicBezTo>
                    <a:pt x="2080591" y="3966"/>
                    <a:pt x="2262791" y="-26063"/>
                    <a:pt x="2437521" y="0"/>
                  </a:cubicBezTo>
                  <a:cubicBezTo>
                    <a:pt x="2612251" y="26063"/>
                    <a:pt x="2866309" y="-15619"/>
                    <a:pt x="3010610" y="0"/>
                  </a:cubicBezTo>
                  <a:cubicBezTo>
                    <a:pt x="3094824" y="-6577"/>
                    <a:pt x="3145135" y="74344"/>
                    <a:pt x="3155775" y="145165"/>
                  </a:cubicBezTo>
                  <a:cubicBezTo>
                    <a:pt x="3141777" y="324747"/>
                    <a:pt x="3164617" y="514745"/>
                    <a:pt x="3155775" y="725807"/>
                  </a:cubicBezTo>
                  <a:cubicBezTo>
                    <a:pt x="3169744" y="809338"/>
                    <a:pt x="3075384" y="868481"/>
                    <a:pt x="3010610" y="870972"/>
                  </a:cubicBezTo>
                  <a:cubicBezTo>
                    <a:pt x="2825799" y="858523"/>
                    <a:pt x="2622112" y="886386"/>
                    <a:pt x="2437521" y="870972"/>
                  </a:cubicBezTo>
                  <a:cubicBezTo>
                    <a:pt x="2252930" y="855558"/>
                    <a:pt x="2154016" y="852978"/>
                    <a:pt x="1893086" y="870972"/>
                  </a:cubicBezTo>
                  <a:cubicBezTo>
                    <a:pt x="1632156" y="888966"/>
                    <a:pt x="1481776" y="886049"/>
                    <a:pt x="1262689" y="870972"/>
                  </a:cubicBezTo>
                  <a:cubicBezTo>
                    <a:pt x="1043602" y="855895"/>
                    <a:pt x="768450" y="895412"/>
                    <a:pt x="632291" y="870972"/>
                  </a:cubicBezTo>
                  <a:cubicBezTo>
                    <a:pt x="496132" y="846532"/>
                    <a:pt x="336941" y="856066"/>
                    <a:pt x="145165" y="870972"/>
                  </a:cubicBezTo>
                  <a:cubicBezTo>
                    <a:pt x="54706" y="861280"/>
                    <a:pt x="-3061" y="801403"/>
                    <a:pt x="0" y="725807"/>
                  </a:cubicBezTo>
                  <a:cubicBezTo>
                    <a:pt x="-1635" y="483453"/>
                    <a:pt x="21514" y="270937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  <a:hlinkClick r:id="rId7"/>
                </a:rPr>
                <a:t>Bicep/Arm Templates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026" name="Picture 2" descr="Bicep for Visual Studio">
              <a:extLst>
                <a:ext uri="{FF2B5EF4-FFF2-40B4-BE49-F238E27FC236}">
                  <a16:creationId xmlns:a16="http://schemas.microsoft.com/office/drawing/2014/main" id="{52948F0E-231C-5177-D1A6-8BE8665290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2800" y="5282201"/>
              <a:ext cx="723686" cy="723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37B2B6E-DFB0-193B-AE75-7443DAEC3C95}"/>
              </a:ext>
            </a:extLst>
          </p:cNvPr>
          <p:cNvGrpSpPr/>
          <p:nvPr/>
        </p:nvGrpSpPr>
        <p:grpSpPr>
          <a:xfrm>
            <a:off x="8951103" y="3333583"/>
            <a:ext cx="2065159" cy="874255"/>
            <a:chOff x="1950358" y="5216649"/>
            <a:chExt cx="2065159" cy="874255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AFB78E60-2E45-8BBB-84DF-E8823F4588B4}"/>
                </a:ext>
              </a:extLst>
            </p:cNvPr>
            <p:cNvSpPr/>
            <p:nvPr/>
          </p:nvSpPr>
          <p:spPr>
            <a:xfrm>
              <a:off x="1959429" y="5219932"/>
              <a:ext cx="2056088" cy="870972"/>
            </a:xfrm>
            <a:custGeom>
              <a:avLst/>
              <a:gdLst>
                <a:gd name="connsiteX0" fmla="*/ 0 w 2056088"/>
                <a:gd name="connsiteY0" fmla="*/ 145165 h 870972"/>
                <a:gd name="connsiteX1" fmla="*/ 145165 w 2056088"/>
                <a:gd name="connsiteY1" fmla="*/ 0 h 870972"/>
                <a:gd name="connsiteX2" fmla="*/ 769066 w 2056088"/>
                <a:gd name="connsiteY2" fmla="*/ 0 h 870972"/>
                <a:gd name="connsiteX3" fmla="*/ 1339995 w 2056088"/>
                <a:gd name="connsiteY3" fmla="*/ 0 h 870972"/>
                <a:gd name="connsiteX4" fmla="*/ 1910923 w 2056088"/>
                <a:gd name="connsiteY4" fmla="*/ 0 h 870972"/>
                <a:gd name="connsiteX5" fmla="*/ 2056088 w 2056088"/>
                <a:gd name="connsiteY5" fmla="*/ 145165 h 870972"/>
                <a:gd name="connsiteX6" fmla="*/ 2056088 w 2056088"/>
                <a:gd name="connsiteY6" fmla="*/ 725807 h 870972"/>
                <a:gd name="connsiteX7" fmla="*/ 1910923 w 2056088"/>
                <a:gd name="connsiteY7" fmla="*/ 870972 h 870972"/>
                <a:gd name="connsiteX8" fmla="*/ 1357652 w 2056088"/>
                <a:gd name="connsiteY8" fmla="*/ 870972 h 870972"/>
                <a:gd name="connsiteX9" fmla="*/ 769066 w 2056088"/>
                <a:gd name="connsiteY9" fmla="*/ 870972 h 870972"/>
                <a:gd name="connsiteX10" fmla="*/ 145165 w 2056088"/>
                <a:gd name="connsiteY10" fmla="*/ 870972 h 870972"/>
                <a:gd name="connsiteX11" fmla="*/ 0 w 2056088"/>
                <a:gd name="connsiteY11" fmla="*/ 725807 h 870972"/>
                <a:gd name="connsiteX12" fmla="*/ 0 w 2056088"/>
                <a:gd name="connsiteY12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608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317572" y="-29342"/>
                    <a:pt x="500561" y="17411"/>
                    <a:pt x="769066" y="0"/>
                  </a:cubicBezTo>
                  <a:cubicBezTo>
                    <a:pt x="1037571" y="-17411"/>
                    <a:pt x="1080018" y="-17002"/>
                    <a:pt x="1339995" y="0"/>
                  </a:cubicBezTo>
                  <a:cubicBezTo>
                    <a:pt x="1599972" y="17002"/>
                    <a:pt x="1695949" y="-26150"/>
                    <a:pt x="1910923" y="0"/>
                  </a:cubicBezTo>
                  <a:cubicBezTo>
                    <a:pt x="1988117" y="-9592"/>
                    <a:pt x="2059434" y="52611"/>
                    <a:pt x="2056088" y="145165"/>
                  </a:cubicBezTo>
                  <a:cubicBezTo>
                    <a:pt x="2059913" y="327905"/>
                    <a:pt x="2046359" y="564412"/>
                    <a:pt x="2056088" y="725807"/>
                  </a:cubicBezTo>
                  <a:cubicBezTo>
                    <a:pt x="2055792" y="803157"/>
                    <a:pt x="1988268" y="874901"/>
                    <a:pt x="1910923" y="870972"/>
                  </a:cubicBezTo>
                  <a:cubicBezTo>
                    <a:pt x="1687605" y="879928"/>
                    <a:pt x="1486840" y="856991"/>
                    <a:pt x="1357652" y="870972"/>
                  </a:cubicBezTo>
                  <a:cubicBezTo>
                    <a:pt x="1228464" y="884953"/>
                    <a:pt x="1003599" y="898678"/>
                    <a:pt x="769066" y="870972"/>
                  </a:cubicBezTo>
                  <a:cubicBezTo>
                    <a:pt x="534533" y="843266"/>
                    <a:pt x="348946" y="865876"/>
                    <a:pt x="145165" y="870972"/>
                  </a:cubicBezTo>
                  <a:cubicBezTo>
                    <a:pt x="68869" y="867142"/>
                    <a:pt x="13885" y="797026"/>
                    <a:pt x="0" y="725807"/>
                  </a:cubicBezTo>
                  <a:cubicBezTo>
                    <a:pt x="-19593" y="471953"/>
                    <a:pt x="-15948" y="364265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rgbClr val="161616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owerShell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BCF79A0D-A66F-60C4-38EE-DDF3683E63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0358" y="5216649"/>
              <a:ext cx="869784" cy="8697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E188643-D8F5-945B-43BA-7439435E8A7D}"/>
              </a:ext>
            </a:extLst>
          </p:cNvPr>
          <p:cNvGrpSpPr/>
          <p:nvPr/>
        </p:nvGrpSpPr>
        <p:grpSpPr>
          <a:xfrm>
            <a:off x="8863387" y="2362020"/>
            <a:ext cx="1962184" cy="998141"/>
            <a:chOff x="1272998" y="2263995"/>
            <a:chExt cx="1962184" cy="998141"/>
          </a:xfrm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8333DA7-EDB2-1482-14CF-29FC378A2E2F}"/>
                </a:ext>
              </a:extLst>
            </p:cNvPr>
            <p:cNvSpPr/>
            <p:nvPr/>
          </p:nvSpPr>
          <p:spPr>
            <a:xfrm>
              <a:off x="1360714" y="2302317"/>
              <a:ext cx="1874468" cy="870972"/>
            </a:xfrm>
            <a:custGeom>
              <a:avLst/>
              <a:gdLst>
                <a:gd name="connsiteX0" fmla="*/ 0 w 1874468"/>
                <a:gd name="connsiteY0" fmla="*/ 145165 h 870972"/>
                <a:gd name="connsiteX1" fmla="*/ 145165 w 1874468"/>
                <a:gd name="connsiteY1" fmla="*/ 0 h 870972"/>
                <a:gd name="connsiteX2" fmla="*/ 704894 w 1874468"/>
                <a:gd name="connsiteY2" fmla="*/ 0 h 870972"/>
                <a:gd name="connsiteX3" fmla="*/ 1217098 w 1874468"/>
                <a:gd name="connsiteY3" fmla="*/ 0 h 870972"/>
                <a:gd name="connsiteX4" fmla="*/ 1729303 w 1874468"/>
                <a:gd name="connsiteY4" fmla="*/ 0 h 870972"/>
                <a:gd name="connsiteX5" fmla="*/ 1874468 w 1874468"/>
                <a:gd name="connsiteY5" fmla="*/ 145165 h 870972"/>
                <a:gd name="connsiteX6" fmla="*/ 1874468 w 1874468"/>
                <a:gd name="connsiteY6" fmla="*/ 725807 h 870972"/>
                <a:gd name="connsiteX7" fmla="*/ 1729303 w 1874468"/>
                <a:gd name="connsiteY7" fmla="*/ 870972 h 870972"/>
                <a:gd name="connsiteX8" fmla="*/ 1232940 w 1874468"/>
                <a:gd name="connsiteY8" fmla="*/ 870972 h 870972"/>
                <a:gd name="connsiteX9" fmla="*/ 704894 w 1874468"/>
                <a:gd name="connsiteY9" fmla="*/ 870972 h 870972"/>
                <a:gd name="connsiteX10" fmla="*/ 145165 w 1874468"/>
                <a:gd name="connsiteY10" fmla="*/ 870972 h 870972"/>
                <a:gd name="connsiteX11" fmla="*/ 0 w 1874468"/>
                <a:gd name="connsiteY11" fmla="*/ 725807 h 870972"/>
                <a:gd name="connsiteX12" fmla="*/ 0 w 1874468"/>
                <a:gd name="connsiteY12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46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18766" y="25270"/>
                    <a:pt x="471750" y="-10451"/>
                    <a:pt x="704894" y="0"/>
                  </a:cubicBezTo>
                  <a:cubicBezTo>
                    <a:pt x="938038" y="10451"/>
                    <a:pt x="1062432" y="-1934"/>
                    <a:pt x="1217098" y="0"/>
                  </a:cubicBezTo>
                  <a:cubicBezTo>
                    <a:pt x="1371764" y="1934"/>
                    <a:pt x="1560301" y="-9488"/>
                    <a:pt x="1729303" y="0"/>
                  </a:cubicBezTo>
                  <a:cubicBezTo>
                    <a:pt x="1806497" y="-9592"/>
                    <a:pt x="1877814" y="52611"/>
                    <a:pt x="1874468" y="145165"/>
                  </a:cubicBezTo>
                  <a:cubicBezTo>
                    <a:pt x="1878293" y="327905"/>
                    <a:pt x="1864739" y="564412"/>
                    <a:pt x="1874468" y="725807"/>
                  </a:cubicBezTo>
                  <a:cubicBezTo>
                    <a:pt x="1874172" y="803157"/>
                    <a:pt x="1806648" y="874901"/>
                    <a:pt x="1729303" y="870972"/>
                  </a:cubicBezTo>
                  <a:cubicBezTo>
                    <a:pt x="1614608" y="860640"/>
                    <a:pt x="1409140" y="886461"/>
                    <a:pt x="1232940" y="870972"/>
                  </a:cubicBezTo>
                  <a:cubicBezTo>
                    <a:pt x="1056740" y="855483"/>
                    <a:pt x="854686" y="896516"/>
                    <a:pt x="704894" y="870972"/>
                  </a:cubicBezTo>
                  <a:cubicBezTo>
                    <a:pt x="555102" y="845428"/>
                    <a:pt x="282589" y="848216"/>
                    <a:pt x="145165" y="870972"/>
                  </a:cubicBezTo>
                  <a:cubicBezTo>
                    <a:pt x="68869" y="867142"/>
                    <a:pt x="13885" y="797026"/>
                    <a:pt x="0" y="725807"/>
                  </a:cubicBezTo>
                  <a:cubicBezTo>
                    <a:pt x="-19593" y="471953"/>
                    <a:pt x="-15948" y="364265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rgbClr val="161616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t API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E4117062-387B-DA91-333C-CAF555FA64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998" y="2263995"/>
              <a:ext cx="1027073" cy="998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1D81764A-EAD3-C3BD-D287-15AAFC28A9FE}"/>
              </a:ext>
            </a:extLst>
          </p:cNvPr>
          <p:cNvSpPr/>
          <p:nvPr/>
        </p:nvSpPr>
        <p:spPr>
          <a:xfrm rot="5400000" flipV="1">
            <a:off x="7767644" y="4254805"/>
            <a:ext cx="283532" cy="293901"/>
          </a:xfrm>
          <a:custGeom>
            <a:avLst/>
            <a:gdLst>
              <a:gd name="connsiteX0" fmla="*/ 0 w 283532"/>
              <a:gd name="connsiteY0" fmla="*/ 73475 h 293901"/>
              <a:gd name="connsiteX1" fmla="*/ 141766 w 283532"/>
              <a:gd name="connsiteY1" fmla="*/ 73475 h 293901"/>
              <a:gd name="connsiteX2" fmla="*/ 141766 w 283532"/>
              <a:gd name="connsiteY2" fmla="*/ 0 h 293901"/>
              <a:gd name="connsiteX3" fmla="*/ 283532 w 283532"/>
              <a:gd name="connsiteY3" fmla="*/ 146951 h 293901"/>
              <a:gd name="connsiteX4" fmla="*/ 141766 w 283532"/>
              <a:gd name="connsiteY4" fmla="*/ 293901 h 293901"/>
              <a:gd name="connsiteX5" fmla="*/ 141766 w 283532"/>
              <a:gd name="connsiteY5" fmla="*/ 220426 h 293901"/>
              <a:gd name="connsiteX6" fmla="*/ 0 w 283532"/>
              <a:gd name="connsiteY6" fmla="*/ 220426 h 293901"/>
              <a:gd name="connsiteX7" fmla="*/ 0 w 283532"/>
              <a:gd name="connsiteY7" fmla="*/ 73475 h 293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3532" h="293901" fill="none" extrusionOk="0">
                <a:moveTo>
                  <a:pt x="0" y="73475"/>
                </a:moveTo>
                <a:cubicBezTo>
                  <a:pt x="41812" y="71548"/>
                  <a:pt x="81662" y="67557"/>
                  <a:pt x="141766" y="73475"/>
                </a:cubicBezTo>
                <a:cubicBezTo>
                  <a:pt x="142619" y="51582"/>
                  <a:pt x="142584" y="23679"/>
                  <a:pt x="141766" y="0"/>
                </a:cubicBezTo>
                <a:cubicBezTo>
                  <a:pt x="189449" y="58484"/>
                  <a:pt x="251994" y="110987"/>
                  <a:pt x="283532" y="146951"/>
                </a:cubicBezTo>
                <a:cubicBezTo>
                  <a:pt x="256082" y="182474"/>
                  <a:pt x="179976" y="247503"/>
                  <a:pt x="141766" y="293901"/>
                </a:cubicBezTo>
                <a:cubicBezTo>
                  <a:pt x="140681" y="266718"/>
                  <a:pt x="140070" y="245963"/>
                  <a:pt x="141766" y="220426"/>
                </a:cubicBezTo>
                <a:cubicBezTo>
                  <a:pt x="111476" y="220322"/>
                  <a:pt x="55292" y="222905"/>
                  <a:pt x="0" y="220426"/>
                </a:cubicBezTo>
                <a:cubicBezTo>
                  <a:pt x="5972" y="187598"/>
                  <a:pt x="1236" y="118312"/>
                  <a:pt x="0" y="73475"/>
                </a:cubicBezTo>
                <a:close/>
              </a:path>
              <a:path w="283532" h="293901" stroke="0" extrusionOk="0">
                <a:moveTo>
                  <a:pt x="0" y="73475"/>
                </a:moveTo>
                <a:cubicBezTo>
                  <a:pt x="50919" y="75191"/>
                  <a:pt x="77424" y="80431"/>
                  <a:pt x="141766" y="73475"/>
                </a:cubicBezTo>
                <a:cubicBezTo>
                  <a:pt x="141984" y="43698"/>
                  <a:pt x="141470" y="20859"/>
                  <a:pt x="141766" y="0"/>
                </a:cubicBezTo>
                <a:cubicBezTo>
                  <a:pt x="180435" y="33596"/>
                  <a:pt x="236569" y="93606"/>
                  <a:pt x="283532" y="146951"/>
                </a:cubicBezTo>
                <a:cubicBezTo>
                  <a:pt x="246139" y="172450"/>
                  <a:pt x="183309" y="238543"/>
                  <a:pt x="141766" y="293901"/>
                </a:cubicBezTo>
                <a:cubicBezTo>
                  <a:pt x="144754" y="262978"/>
                  <a:pt x="142061" y="241441"/>
                  <a:pt x="141766" y="220426"/>
                </a:cubicBezTo>
                <a:cubicBezTo>
                  <a:pt x="106873" y="213743"/>
                  <a:pt x="63896" y="227005"/>
                  <a:pt x="0" y="220426"/>
                </a:cubicBezTo>
                <a:cubicBezTo>
                  <a:pt x="-6576" y="169039"/>
                  <a:pt x="2709" y="114727"/>
                  <a:pt x="0" y="73475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3C8D4438-8E0F-FCD6-78F8-9DDD2640FEAF}"/>
              </a:ext>
            </a:extLst>
          </p:cNvPr>
          <p:cNvSpPr/>
          <p:nvPr/>
        </p:nvSpPr>
        <p:spPr>
          <a:xfrm rot="2001823" flipV="1">
            <a:off x="6723098" y="3017327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E7F1A580-12D0-4472-FF1A-F3098997C084}"/>
              </a:ext>
            </a:extLst>
          </p:cNvPr>
          <p:cNvSpPr/>
          <p:nvPr/>
        </p:nvSpPr>
        <p:spPr>
          <a:xfrm flipV="1">
            <a:off x="6699996" y="3640143"/>
            <a:ext cx="742559" cy="311370"/>
          </a:xfrm>
          <a:custGeom>
            <a:avLst/>
            <a:gdLst>
              <a:gd name="connsiteX0" fmla="*/ 0 w 742559"/>
              <a:gd name="connsiteY0" fmla="*/ 77843 h 311370"/>
              <a:gd name="connsiteX1" fmla="*/ 586874 w 742559"/>
              <a:gd name="connsiteY1" fmla="*/ 77843 h 311370"/>
              <a:gd name="connsiteX2" fmla="*/ 586874 w 742559"/>
              <a:gd name="connsiteY2" fmla="*/ 0 h 311370"/>
              <a:gd name="connsiteX3" fmla="*/ 742559 w 742559"/>
              <a:gd name="connsiteY3" fmla="*/ 155685 h 311370"/>
              <a:gd name="connsiteX4" fmla="*/ 586874 w 742559"/>
              <a:gd name="connsiteY4" fmla="*/ 311370 h 311370"/>
              <a:gd name="connsiteX5" fmla="*/ 586874 w 742559"/>
              <a:gd name="connsiteY5" fmla="*/ 233528 h 311370"/>
              <a:gd name="connsiteX6" fmla="*/ 0 w 742559"/>
              <a:gd name="connsiteY6" fmla="*/ 233528 h 311370"/>
              <a:gd name="connsiteX7" fmla="*/ 0 w 742559"/>
              <a:gd name="connsiteY7" fmla="*/ 77843 h 311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2559" h="311370" fill="none" extrusionOk="0">
                <a:moveTo>
                  <a:pt x="0" y="77843"/>
                </a:moveTo>
                <a:cubicBezTo>
                  <a:pt x="241731" y="95664"/>
                  <a:pt x="300453" y="78426"/>
                  <a:pt x="586874" y="77843"/>
                </a:cubicBezTo>
                <a:cubicBezTo>
                  <a:pt x="585335" y="54991"/>
                  <a:pt x="585404" y="26936"/>
                  <a:pt x="586874" y="0"/>
                </a:cubicBezTo>
                <a:cubicBezTo>
                  <a:pt x="653028" y="58532"/>
                  <a:pt x="688201" y="112350"/>
                  <a:pt x="742559" y="155685"/>
                </a:cubicBezTo>
                <a:cubicBezTo>
                  <a:pt x="677371" y="215915"/>
                  <a:pt x="665336" y="236822"/>
                  <a:pt x="586874" y="311370"/>
                </a:cubicBezTo>
                <a:cubicBezTo>
                  <a:pt x="583441" y="281475"/>
                  <a:pt x="587854" y="252131"/>
                  <a:pt x="586874" y="233528"/>
                </a:cubicBezTo>
                <a:cubicBezTo>
                  <a:pt x="321074" y="232474"/>
                  <a:pt x="153977" y="253480"/>
                  <a:pt x="0" y="233528"/>
                </a:cubicBezTo>
                <a:cubicBezTo>
                  <a:pt x="5076" y="169957"/>
                  <a:pt x="-173" y="137600"/>
                  <a:pt x="0" y="77843"/>
                </a:cubicBezTo>
                <a:close/>
              </a:path>
              <a:path w="742559" h="311370" stroke="0" extrusionOk="0">
                <a:moveTo>
                  <a:pt x="0" y="77843"/>
                </a:moveTo>
                <a:cubicBezTo>
                  <a:pt x="282185" y="53894"/>
                  <a:pt x="442578" y="49175"/>
                  <a:pt x="586874" y="77843"/>
                </a:cubicBezTo>
                <a:cubicBezTo>
                  <a:pt x="589802" y="60912"/>
                  <a:pt x="585846" y="16837"/>
                  <a:pt x="586874" y="0"/>
                </a:cubicBezTo>
                <a:cubicBezTo>
                  <a:pt x="644335" y="53904"/>
                  <a:pt x="706683" y="114156"/>
                  <a:pt x="742559" y="155685"/>
                </a:cubicBezTo>
                <a:cubicBezTo>
                  <a:pt x="671751" y="227083"/>
                  <a:pt x="643991" y="243908"/>
                  <a:pt x="586874" y="311370"/>
                </a:cubicBezTo>
                <a:cubicBezTo>
                  <a:pt x="586638" y="289274"/>
                  <a:pt x="583431" y="259805"/>
                  <a:pt x="586874" y="233528"/>
                </a:cubicBezTo>
                <a:cubicBezTo>
                  <a:pt x="345025" y="254085"/>
                  <a:pt x="246747" y="239828"/>
                  <a:pt x="0" y="233528"/>
                </a:cubicBezTo>
                <a:cubicBezTo>
                  <a:pt x="-7256" y="185133"/>
                  <a:pt x="5465" y="131611"/>
                  <a:pt x="0" y="77843"/>
                </a:cubicBezTo>
                <a:close/>
              </a:path>
            </a:pathLst>
          </a:custGeom>
          <a:solidFill>
            <a:srgbClr val="E41212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Arrow: Right 56">
            <a:extLst>
              <a:ext uri="{FF2B5EF4-FFF2-40B4-BE49-F238E27FC236}">
                <a16:creationId xmlns:a16="http://schemas.microsoft.com/office/drawing/2014/main" id="{9A04545B-9CB7-33F0-FBF0-DB471E339494}"/>
              </a:ext>
            </a:extLst>
          </p:cNvPr>
          <p:cNvSpPr/>
          <p:nvPr/>
        </p:nvSpPr>
        <p:spPr>
          <a:xfrm rot="19136335" flipV="1">
            <a:off x="6680888" y="4327350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685A6F23-2187-BFF8-8A15-BE13EC6596C8}"/>
              </a:ext>
            </a:extLst>
          </p:cNvPr>
          <p:cNvSpPr/>
          <p:nvPr/>
        </p:nvSpPr>
        <p:spPr>
          <a:xfrm rot="13655532" flipV="1">
            <a:off x="8182314" y="4339388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9099542B-3D99-ECCA-0D45-C72DC8FC5E36}"/>
              </a:ext>
            </a:extLst>
          </p:cNvPr>
          <p:cNvSpPr/>
          <p:nvPr/>
        </p:nvSpPr>
        <p:spPr>
          <a:xfrm rot="8917919" flipV="1">
            <a:off x="8360521" y="2876983"/>
            <a:ext cx="560549" cy="312948"/>
          </a:xfrm>
          <a:custGeom>
            <a:avLst/>
            <a:gdLst>
              <a:gd name="connsiteX0" fmla="*/ 0 w 560549"/>
              <a:gd name="connsiteY0" fmla="*/ 78237 h 312948"/>
              <a:gd name="connsiteX1" fmla="*/ 404075 w 560549"/>
              <a:gd name="connsiteY1" fmla="*/ 78237 h 312948"/>
              <a:gd name="connsiteX2" fmla="*/ 404075 w 560549"/>
              <a:gd name="connsiteY2" fmla="*/ 0 h 312948"/>
              <a:gd name="connsiteX3" fmla="*/ 560549 w 560549"/>
              <a:gd name="connsiteY3" fmla="*/ 156474 h 312948"/>
              <a:gd name="connsiteX4" fmla="*/ 404075 w 560549"/>
              <a:gd name="connsiteY4" fmla="*/ 312948 h 312948"/>
              <a:gd name="connsiteX5" fmla="*/ 404075 w 560549"/>
              <a:gd name="connsiteY5" fmla="*/ 234711 h 312948"/>
              <a:gd name="connsiteX6" fmla="*/ 0 w 560549"/>
              <a:gd name="connsiteY6" fmla="*/ 234711 h 312948"/>
              <a:gd name="connsiteX7" fmla="*/ 0 w 560549"/>
              <a:gd name="connsiteY7" fmla="*/ 78237 h 312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0549" h="312948" fill="none" extrusionOk="0">
                <a:moveTo>
                  <a:pt x="0" y="78237"/>
                </a:moveTo>
                <a:cubicBezTo>
                  <a:pt x="87627" y="94770"/>
                  <a:pt x="216511" y="93760"/>
                  <a:pt x="404075" y="78237"/>
                </a:cubicBezTo>
                <a:cubicBezTo>
                  <a:pt x="402433" y="56871"/>
                  <a:pt x="400537" y="29966"/>
                  <a:pt x="404075" y="0"/>
                </a:cubicBezTo>
                <a:cubicBezTo>
                  <a:pt x="463033" y="58118"/>
                  <a:pt x="511860" y="104543"/>
                  <a:pt x="560549" y="156474"/>
                </a:cubicBezTo>
                <a:cubicBezTo>
                  <a:pt x="516080" y="212185"/>
                  <a:pt x="446772" y="263894"/>
                  <a:pt x="404075" y="312948"/>
                </a:cubicBezTo>
                <a:cubicBezTo>
                  <a:pt x="407773" y="279223"/>
                  <a:pt x="404459" y="255917"/>
                  <a:pt x="404075" y="234711"/>
                </a:cubicBezTo>
                <a:cubicBezTo>
                  <a:pt x="243762" y="241424"/>
                  <a:pt x="165785" y="240921"/>
                  <a:pt x="0" y="234711"/>
                </a:cubicBezTo>
                <a:cubicBezTo>
                  <a:pt x="-5326" y="187794"/>
                  <a:pt x="-2901" y="148671"/>
                  <a:pt x="0" y="78237"/>
                </a:cubicBezTo>
                <a:close/>
              </a:path>
              <a:path w="560549" h="312948" stroke="0" extrusionOk="0">
                <a:moveTo>
                  <a:pt x="0" y="78237"/>
                </a:moveTo>
                <a:cubicBezTo>
                  <a:pt x="197198" y="93535"/>
                  <a:pt x="214325" y="76948"/>
                  <a:pt x="404075" y="78237"/>
                </a:cubicBezTo>
                <a:cubicBezTo>
                  <a:pt x="406613" y="42379"/>
                  <a:pt x="400834" y="26459"/>
                  <a:pt x="404075" y="0"/>
                </a:cubicBezTo>
                <a:cubicBezTo>
                  <a:pt x="474785" y="73399"/>
                  <a:pt x="481666" y="80945"/>
                  <a:pt x="560549" y="156474"/>
                </a:cubicBezTo>
                <a:cubicBezTo>
                  <a:pt x="506308" y="215934"/>
                  <a:pt x="456681" y="264595"/>
                  <a:pt x="404075" y="312948"/>
                </a:cubicBezTo>
                <a:cubicBezTo>
                  <a:pt x="407642" y="280414"/>
                  <a:pt x="405696" y="250631"/>
                  <a:pt x="404075" y="234711"/>
                </a:cubicBezTo>
                <a:cubicBezTo>
                  <a:pt x="259426" y="215940"/>
                  <a:pt x="112613" y="230546"/>
                  <a:pt x="0" y="234711"/>
                </a:cubicBezTo>
                <a:cubicBezTo>
                  <a:pt x="-6935" y="167277"/>
                  <a:pt x="5087" y="145029"/>
                  <a:pt x="0" y="78237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Arrow: Right 59">
            <a:extLst>
              <a:ext uri="{FF2B5EF4-FFF2-40B4-BE49-F238E27FC236}">
                <a16:creationId xmlns:a16="http://schemas.microsoft.com/office/drawing/2014/main" id="{9408F589-6BF4-4E88-CF86-007C2CC4C51E}"/>
              </a:ext>
            </a:extLst>
          </p:cNvPr>
          <p:cNvSpPr/>
          <p:nvPr/>
        </p:nvSpPr>
        <p:spPr>
          <a:xfrm rot="10800000" flipV="1">
            <a:off x="8370351" y="3474844"/>
            <a:ext cx="493035" cy="381508"/>
          </a:xfrm>
          <a:custGeom>
            <a:avLst/>
            <a:gdLst>
              <a:gd name="connsiteX0" fmla="*/ 0 w 493035"/>
              <a:gd name="connsiteY0" fmla="*/ 95377 h 381508"/>
              <a:gd name="connsiteX1" fmla="*/ 302281 w 493035"/>
              <a:gd name="connsiteY1" fmla="*/ 95377 h 381508"/>
              <a:gd name="connsiteX2" fmla="*/ 302281 w 493035"/>
              <a:gd name="connsiteY2" fmla="*/ 0 h 381508"/>
              <a:gd name="connsiteX3" fmla="*/ 493035 w 493035"/>
              <a:gd name="connsiteY3" fmla="*/ 190754 h 381508"/>
              <a:gd name="connsiteX4" fmla="*/ 302281 w 493035"/>
              <a:gd name="connsiteY4" fmla="*/ 381508 h 381508"/>
              <a:gd name="connsiteX5" fmla="*/ 302281 w 493035"/>
              <a:gd name="connsiteY5" fmla="*/ 286131 h 381508"/>
              <a:gd name="connsiteX6" fmla="*/ 0 w 493035"/>
              <a:gd name="connsiteY6" fmla="*/ 286131 h 381508"/>
              <a:gd name="connsiteX7" fmla="*/ 0 w 493035"/>
              <a:gd name="connsiteY7" fmla="*/ 95377 h 381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3035" h="381508" fill="none" extrusionOk="0">
                <a:moveTo>
                  <a:pt x="0" y="95377"/>
                </a:moveTo>
                <a:cubicBezTo>
                  <a:pt x="128562" y="97836"/>
                  <a:pt x="187764" y="106999"/>
                  <a:pt x="302281" y="95377"/>
                </a:cubicBezTo>
                <a:cubicBezTo>
                  <a:pt x="306080" y="57155"/>
                  <a:pt x="304101" y="42206"/>
                  <a:pt x="302281" y="0"/>
                </a:cubicBezTo>
                <a:cubicBezTo>
                  <a:pt x="373383" y="53600"/>
                  <a:pt x="448795" y="152320"/>
                  <a:pt x="493035" y="190754"/>
                </a:cubicBezTo>
                <a:cubicBezTo>
                  <a:pt x="416013" y="256249"/>
                  <a:pt x="387986" y="282617"/>
                  <a:pt x="302281" y="381508"/>
                </a:cubicBezTo>
                <a:cubicBezTo>
                  <a:pt x="306189" y="336975"/>
                  <a:pt x="299327" y="310016"/>
                  <a:pt x="302281" y="286131"/>
                </a:cubicBezTo>
                <a:cubicBezTo>
                  <a:pt x="174005" y="272712"/>
                  <a:pt x="117761" y="271941"/>
                  <a:pt x="0" y="286131"/>
                </a:cubicBezTo>
                <a:cubicBezTo>
                  <a:pt x="-980" y="219966"/>
                  <a:pt x="-6360" y="175301"/>
                  <a:pt x="0" y="95377"/>
                </a:cubicBezTo>
                <a:close/>
              </a:path>
              <a:path w="493035" h="381508" stroke="0" extrusionOk="0">
                <a:moveTo>
                  <a:pt x="0" y="95377"/>
                </a:moveTo>
                <a:cubicBezTo>
                  <a:pt x="70059" y="100114"/>
                  <a:pt x="217974" y="109876"/>
                  <a:pt x="302281" y="95377"/>
                </a:cubicBezTo>
                <a:cubicBezTo>
                  <a:pt x="301673" y="71827"/>
                  <a:pt x="297901" y="28531"/>
                  <a:pt x="302281" y="0"/>
                </a:cubicBezTo>
                <a:cubicBezTo>
                  <a:pt x="346269" y="39859"/>
                  <a:pt x="406782" y="96029"/>
                  <a:pt x="493035" y="190754"/>
                </a:cubicBezTo>
                <a:cubicBezTo>
                  <a:pt x="417556" y="259791"/>
                  <a:pt x="372616" y="304959"/>
                  <a:pt x="302281" y="381508"/>
                </a:cubicBezTo>
                <a:cubicBezTo>
                  <a:pt x="307008" y="347186"/>
                  <a:pt x="297546" y="316069"/>
                  <a:pt x="302281" y="286131"/>
                </a:cubicBezTo>
                <a:cubicBezTo>
                  <a:pt x="223481" y="282612"/>
                  <a:pt x="74081" y="300264"/>
                  <a:pt x="0" y="286131"/>
                </a:cubicBezTo>
                <a:cubicBezTo>
                  <a:pt x="2557" y="239460"/>
                  <a:pt x="-3678" y="179687"/>
                  <a:pt x="0" y="95377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B2CBA4C-4923-3252-3BDC-AD55C65243ED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15" name="Rectángulo redondeado 14">
              <a:extLst>
                <a:ext uri="{FF2B5EF4-FFF2-40B4-BE49-F238E27FC236}">
                  <a16:creationId xmlns:a16="http://schemas.microsoft.com/office/drawing/2014/main" id="{81A7E4E8-AA46-14E7-91E2-20DB7D6D48AA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ángulo 12">
              <a:extLst>
                <a:ext uri="{FF2B5EF4-FFF2-40B4-BE49-F238E27FC236}">
                  <a16:creationId xmlns:a16="http://schemas.microsoft.com/office/drawing/2014/main" id="{8807D585-EB0A-AD63-239F-5730054974F1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deployment op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50949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141831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ut what about more complex deployments, like Applications that consists of multiple standardized resources?</a:t>
            </a:r>
          </a:p>
          <a:p>
            <a:pPr>
              <a:buFontTx/>
              <a:buChar char="-"/>
            </a:pP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 UI Tabs as composition elements</a:t>
            </a:r>
          </a:p>
          <a:p>
            <a:pPr>
              <a:buFontTx/>
              <a:buChar char="-"/>
            </a:pP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 Resource Template Spec's bicep files as modules in the Application bicep fi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D019DA-DE66-02B0-3E87-8A0637A9E889}"/>
              </a:ext>
            </a:extLst>
          </p:cNvPr>
          <p:cNvGrpSpPr/>
          <p:nvPr/>
        </p:nvGrpSpPr>
        <p:grpSpPr>
          <a:xfrm>
            <a:off x="9165984" y="3218836"/>
            <a:ext cx="2638047" cy="2873312"/>
            <a:chOff x="8065864" y="3428999"/>
            <a:chExt cx="2638047" cy="287331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C17690F-C13F-928C-B174-184391D45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65864" y="3428999"/>
              <a:ext cx="2638047" cy="2873312"/>
            </a:xfrm>
            <a:prstGeom prst="rect">
              <a:avLst/>
            </a:prstGeom>
          </p:spPr>
        </p:pic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A6C0EBF-797C-EC6D-5357-449FB8D33528}"/>
                </a:ext>
              </a:extLst>
            </p:cNvPr>
            <p:cNvSpPr/>
            <p:nvPr/>
          </p:nvSpPr>
          <p:spPr>
            <a:xfrm>
              <a:off x="8065864" y="4333241"/>
              <a:ext cx="377096" cy="223520"/>
            </a:xfrm>
            <a:custGeom>
              <a:avLst/>
              <a:gdLst>
                <a:gd name="connsiteX0" fmla="*/ 0 w 377096"/>
                <a:gd name="connsiteY0" fmla="*/ 37254 h 223520"/>
                <a:gd name="connsiteX1" fmla="*/ 37254 w 377096"/>
                <a:gd name="connsiteY1" fmla="*/ 0 h 223520"/>
                <a:gd name="connsiteX2" fmla="*/ 339842 w 377096"/>
                <a:gd name="connsiteY2" fmla="*/ 0 h 223520"/>
                <a:gd name="connsiteX3" fmla="*/ 377096 w 377096"/>
                <a:gd name="connsiteY3" fmla="*/ 37254 h 223520"/>
                <a:gd name="connsiteX4" fmla="*/ 377096 w 377096"/>
                <a:gd name="connsiteY4" fmla="*/ 186266 h 223520"/>
                <a:gd name="connsiteX5" fmla="*/ 339842 w 377096"/>
                <a:gd name="connsiteY5" fmla="*/ 223520 h 223520"/>
                <a:gd name="connsiteX6" fmla="*/ 37254 w 377096"/>
                <a:gd name="connsiteY6" fmla="*/ 223520 h 223520"/>
                <a:gd name="connsiteX7" fmla="*/ 0 w 377096"/>
                <a:gd name="connsiteY7" fmla="*/ 186266 h 223520"/>
                <a:gd name="connsiteX8" fmla="*/ 0 w 377096"/>
                <a:gd name="connsiteY8" fmla="*/ 37254 h 2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096" h="223520" extrusionOk="0">
                  <a:moveTo>
                    <a:pt x="0" y="37254"/>
                  </a:moveTo>
                  <a:cubicBezTo>
                    <a:pt x="-3796" y="14338"/>
                    <a:pt x="14371" y="866"/>
                    <a:pt x="37254" y="0"/>
                  </a:cubicBezTo>
                  <a:cubicBezTo>
                    <a:pt x="106733" y="12032"/>
                    <a:pt x="196691" y="14560"/>
                    <a:pt x="339842" y="0"/>
                  </a:cubicBezTo>
                  <a:cubicBezTo>
                    <a:pt x="357804" y="-1988"/>
                    <a:pt x="375143" y="20688"/>
                    <a:pt x="377096" y="37254"/>
                  </a:cubicBezTo>
                  <a:cubicBezTo>
                    <a:pt x="379978" y="91669"/>
                    <a:pt x="373190" y="150656"/>
                    <a:pt x="377096" y="186266"/>
                  </a:cubicBezTo>
                  <a:cubicBezTo>
                    <a:pt x="377667" y="205666"/>
                    <a:pt x="358753" y="223265"/>
                    <a:pt x="339842" y="223520"/>
                  </a:cubicBezTo>
                  <a:cubicBezTo>
                    <a:pt x="262464" y="235135"/>
                    <a:pt x="129051" y="237803"/>
                    <a:pt x="37254" y="223520"/>
                  </a:cubicBezTo>
                  <a:cubicBezTo>
                    <a:pt x="16310" y="224130"/>
                    <a:pt x="-2928" y="203444"/>
                    <a:pt x="0" y="186266"/>
                  </a:cubicBezTo>
                  <a:cubicBezTo>
                    <a:pt x="4422" y="148477"/>
                    <a:pt x="289" y="97045"/>
                    <a:pt x="0" y="37254"/>
                  </a:cubicBezTo>
                  <a:close/>
                </a:path>
              </a:pathLst>
            </a:custGeom>
            <a:noFill/>
            <a:ln w="25400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F357BB0D-3AE2-E8D9-3B58-F694EFD98A33}"/>
                </a:ext>
              </a:extLst>
            </p:cNvPr>
            <p:cNvSpPr/>
            <p:nvPr/>
          </p:nvSpPr>
          <p:spPr>
            <a:xfrm>
              <a:off x="8487927" y="4333241"/>
              <a:ext cx="377096" cy="223520"/>
            </a:xfrm>
            <a:custGeom>
              <a:avLst/>
              <a:gdLst>
                <a:gd name="connsiteX0" fmla="*/ 0 w 377096"/>
                <a:gd name="connsiteY0" fmla="*/ 37254 h 223520"/>
                <a:gd name="connsiteX1" fmla="*/ 37254 w 377096"/>
                <a:gd name="connsiteY1" fmla="*/ 0 h 223520"/>
                <a:gd name="connsiteX2" fmla="*/ 339842 w 377096"/>
                <a:gd name="connsiteY2" fmla="*/ 0 h 223520"/>
                <a:gd name="connsiteX3" fmla="*/ 377096 w 377096"/>
                <a:gd name="connsiteY3" fmla="*/ 37254 h 223520"/>
                <a:gd name="connsiteX4" fmla="*/ 377096 w 377096"/>
                <a:gd name="connsiteY4" fmla="*/ 186266 h 223520"/>
                <a:gd name="connsiteX5" fmla="*/ 339842 w 377096"/>
                <a:gd name="connsiteY5" fmla="*/ 223520 h 223520"/>
                <a:gd name="connsiteX6" fmla="*/ 37254 w 377096"/>
                <a:gd name="connsiteY6" fmla="*/ 223520 h 223520"/>
                <a:gd name="connsiteX7" fmla="*/ 0 w 377096"/>
                <a:gd name="connsiteY7" fmla="*/ 186266 h 223520"/>
                <a:gd name="connsiteX8" fmla="*/ 0 w 377096"/>
                <a:gd name="connsiteY8" fmla="*/ 37254 h 2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096" h="223520" extrusionOk="0">
                  <a:moveTo>
                    <a:pt x="0" y="37254"/>
                  </a:moveTo>
                  <a:cubicBezTo>
                    <a:pt x="-3796" y="14338"/>
                    <a:pt x="14371" y="866"/>
                    <a:pt x="37254" y="0"/>
                  </a:cubicBezTo>
                  <a:cubicBezTo>
                    <a:pt x="106733" y="12032"/>
                    <a:pt x="196691" y="14560"/>
                    <a:pt x="339842" y="0"/>
                  </a:cubicBezTo>
                  <a:cubicBezTo>
                    <a:pt x="357804" y="-1988"/>
                    <a:pt x="375143" y="20688"/>
                    <a:pt x="377096" y="37254"/>
                  </a:cubicBezTo>
                  <a:cubicBezTo>
                    <a:pt x="379978" y="91669"/>
                    <a:pt x="373190" y="150656"/>
                    <a:pt x="377096" y="186266"/>
                  </a:cubicBezTo>
                  <a:cubicBezTo>
                    <a:pt x="377667" y="205666"/>
                    <a:pt x="358753" y="223265"/>
                    <a:pt x="339842" y="223520"/>
                  </a:cubicBezTo>
                  <a:cubicBezTo>
                    <a:pt x="262464" y="235135"/>
                    <a:pt x="129051" y="237803"/>
                    <a:pt x="37254" y="223520"/>
                  </a:cubicBezTo>
                  <a:cubicBezTo>
                    <a:pt x="16310" y="224130"/>
                    <a:pt x="-2928" y="203444"/>
                    <a:pt x="0" y="186266"/>
                  </a:cubicBezTo>
                  <a:cubicBezTo>
                    <a:pt x="4422" y="148477"/>
                    <a:pt x="289" y="97045"/>
                    <a:pt x="0" y="37254"/>
                  </a:cubicBezTo>
                  <a:close/>
                </a:path>
              </a:pathLst>
            </a:custGeom>
            <a:noFill/>
            <a:ln w="25400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893DE28-BE3B-5EFC-C998-14A2561C5345}"/>
              </a:ext>
            </a:extLst>
          </p:cNvPr>
          <p:cNvGrpSpPr/>
          <p:nvPr/>
        </p:nvGrpSpPr>
        <p:grpSpPr>
          <a:xfrm>
            <a:off x="369313" y="3231390"/>
            <a:ext cx="2186689" cy="2873311"/>
            <a:chOff x="517991" y="3243943"/>
            <a:chExt cx="2249195" cy="2873311"/>
          </a:xfrm>
        </p:grpSpPr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8E29DE59-FAAE-1E26-3561-A67776339D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243" y="3243943"/>
              <a:ext cx="783141" cy="783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450B6F6-E2D1-8332-8759-B0D42BE716BF}"/>
                </a:ext>
              </a:extLst>
            </p:cNvPr>
            <p:cNvSpPr/>
            <p:nvPr/>
          </p:nvSpPr>
          <p:spPr>
            <a:xfrm>
              <a:off x="564244" y="3243943"/>
              <a:ext cx="2122404" cy="2873311"/>
            </a:xfrm>
            <a:custGeom>
              <a:avLst/>
              <a:gdLst>
                <a:gd name="connsiteX0" fmla="*/ 0 w 2122404"/>
                <a:gd name="connsiteY0" fmla="*/ 353741 h 2873311"/>
                <a:gd name="connsiteX1" fmla="*/ 353741 w 2122404"/>
                <a:gd name="connsiteY1" fmla="*/ 0 h 2873311"/>
                <a:gd name="connsiteX2" fmla="*/ 853680 w 2122404"/>
                <a:gd name="connsiteY2" fmla="*/ 0 h 2873311"/>
                <a:gd name="connsiteX3" fmla="*/ 1311172 w 2122404"/>
                <a:gd name="connsiteY3" fmla="*/ 0 h 2873311"/>
                <a:gd name="connsiteX4" fmla="*/ 1768663 w 2122404"/>
                <a:gd name="connsiteY4" fmla="*/ 0 h 2873311"/>
                <a:gd name="connsiteX5" fmla="*/ 2122404 w 2122404"/>
                <a:gd name="connsiteY5" fmla="*/ 353741 h 2873311"/>
                <a:gd name="connsiteX6" fmla="*/ 2122404 w 2122404"/>
                <a:gd name="connsiteY6" fmla="*/ 851882 h 2873311"/>
                <a:gd name="connsiteX7" fmla="*/ 2122404 w 2122404"/>
                <a:gd name="connsiteY7" fmla="*/ 1350022 h 2873311"/>
                <a:gd name="connsiteX8" fmla="*/ 2122404 w 2122404"/>
                <a:gd name="connsiteY8" fmla="*/ 1934796 h 2873311"/>
                <a:gd name="connsiteX9" fmla="*/ 2122404 w 2122404"/>
                <a:gd name="connsiteY9" fmla="*/ 2519570 h 2873311"/>
                <a:gd name="connsiteX10" fmla="*/ 1768663 w 2122404"/>
                <a:gd name="connsiteY10" fmla="*/ 2873311 h 2873311"/>
                <a:gd name="connsiteX11" fmla="*/ 1282873 w 2122404"/>
                <a:gd name="connsiteY11" fmla="*/ 2873311 h 2873311"/>
                <a:gd name="connsiteX12" fmla="*/ 782934 w 2122404"/>
                <a:gd name="connsiteY12" fmla="*/ 2873311 h 2873311"/>
                <a:gd name="connsiteX13" fmla="*/ 353741 w 2122404"/>
                <a:gd name="connsiteY13" fmla="*/ 2873311 h 2873311"/>
                <a:gd name="connsiteX14" fmla="*/ 0 w 2122404"/>
                <a:gd name="connsiteY14" fmla="*/ 2519570 h 2873311"/>
                <a:gd name="connsiteX15" fmla="*/ 0 w 2122404"/>
                <a:gd name="connsiteY15" fmla="*/ 1956454 h 2873311"/>
                <a:gd name="connsiteX16" fmla="*/ 0 w 2122404"/>
                <a:gd name="connsiteY16" fmla="*/ 1414997 h 2873311"/>
                <a:gd name="connsiteX17" fmla="*/ 0 w 2122404"/>
                <a:gd name="connsiteY17" fmla="*/ 938515 h 2873311"/>
                <a:gd name="connsiteX18" fmla="*/ 0 w 2122404"/>
                <a:gd name="connsiteY18" fmla="*/ 353741 h 2873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2404" h="2873311" extrusionOk="0">
                  <a:moveTo>
                    <a:pt x="0" y="353741"/>
                  </a:moveTo>
                  <a:cubicBezTo>
                    <a:pt x="-21494" y="145117"/>
                    <a:pt x="117357" y="15395"/>
                    <a:pt x="353741" y="0"/>
                  </a:cubicBezTo>
                  <a:cubicBezTo>
                    <a:pt x="464465" y="-20901"/>
                    <a:pt x="603964" y="16008"/>
                    <a:pt x="853680" y="0"/>
                  </a:cubicBezTo>
                  <a:cubicBezTo>
                    <a:pt x="1103396" y="-16008"/>
                    <a:pt x="1198726" y="-598"/>
                    <a:pt x="1311172" y="0"/>
                  </a:cubicBezTo>
                  <a:cubicBezTo>
                    <a:pt x="1423618" y="598"/>
                    <a:pt x="1661611" y="17615"/>
                    <a:pt x="1768663" y="0"/>
                  </a:cubicBezTo>
                  <a:cubicBezTo>
                    <a:pt x="1951644" y="-39893"/>
                    <a:pt x="2131925" y="123142"/>
                    <a:pt x="2122404" y="353741"/>
                  </a:cubicBezTo>
                  <a:cubicBezTo>
                    <a:pt x="2124182" y="574271"/>
                    <a:pt x="2101506" y="706414"/>
                    <a:pt x="2122404" y="851882"/>
                  </a:cubicBezTo>
                  <a:cubicBezTo>
                    <a:pt x="2143302" y="997350"/>
                    <a:pt x="2139272" y="1167876"/>
                    <a:pt x="2122404" y="1350022"/>
                  </a:cubicBezTo>
                  <a:cubicBezTo>
                    <a:pt x="2105536" y="1532168"/>
                    <a:pt x="2094789" y="1652614"/>
                    <a:pt x="2122404" y="1934796"/>
                  </a:cubicBezTo>
                  <a:cubicBezTo>
                    <a:pt x="2150019" y="2216978"/>
                    <a:pt x="2104527" y="2355505"/>
                    <a:pt x="2122404" y="2519570"/>
                  </a:cubicBezTo>
                  <a:cubicBezTo>
                    <a:pt x="2101354" y="2713732"/>
                    <a:pt x="1977870" y="2835357"/>
                    <a:pt x="1768663" y="2873311"/>
                  </a:cubicBezTo>
                  <a:cubicBezTo>
                    <a:pt x="1572195" y="2893615"/>
                    <a:pt x="1426448" y="2893643"/>
                    <a:pt x="1282873" y="2873311"/>
                  </a:cubicBezTo>
                  <a:cubicBezTo>
                    <a:pt x="1139298" y="2852980"/>
                    <a:pt x="893232" y="2851881"/>
                    <a:pt x="782934" y="2873311"/>
                  </a:cubicBezTo>
                  <a:cubicBezTo>
                    <a:pt x="672636" y="2894741"/>
                    <a:pt x="502465" y="2864554"/>
                    <a:pt x="353741" y="2873311"/>
                  </a:cubicBezTo>
                  <a:cubicBezTo>
                    <a:pt x="121449" y="2879375"/>
                    <a:pt x="-24796" y="2697827"/>
                    <a:pt x="0" y="2519570"/>
                  </a:cubicBezTo>
                  <a:cubicBezTo>
                    <a:pt x="-25392" y="2335949"/>
                    <a:pt x="-7188" y="2122494"/>
                    <a:pt x="0" y="1956454"/>
                  </a:cubicBezTo>
                  <a:cubicBezTo>
                    <a:pt x="7188" y="1790414"/>
                    <a:pt x="2894" y="1579342"/>
                    <a:pt x="0" y="1414997"/>
                  </a:cubicBezTo>
                  <a:cubicBezTo>
                    <a:pt x="-2894" y="1250652"/>
                    <a:pt x="-20353" y="1052172"/>
                    <a:pt x="0" y="938515"/>
                  </a:cubicBezTo>
                  <a:cubicBezTo>
                    <a:pt x="20353" y="824858"/>
                    <a:pt x="-2032" y="572224"/>
                    <a:pt x="0" y="353741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31CE5A-3FE5-93CA-657F-3C9CA9333C70}"/>
                </a:ext>
              </a:extLst>
            </p:cNvPr>
            <p:cNvSpPr txBox="1"/>
            <p:nvPr/>
          </p:nvSpPr>
          <p:spPr>
            <a:xfrm>
              <a:off x="532078" y="4117012"/>
              <a:ext cx="15154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s</a:t>
              </a:r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sqlServer</a:t>
              </a:r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16B381-C261-B2F4-6511-9C4570F859CA}"/>
                </a:ext>
              </a:extLst>
            </p:cNvPr>
            <p:cNvSpPr txBox="1"/>
            <p:nvPr/>
          </p:nvSpPr>
          <p:spPr>
            <a:xfrm>
              <a:off x="517992" y="4457317"/>
              <a:ext cx="116110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s</a:t>
              </a:r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sqlDb</a:t>
              </a:r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8749A3C-DC21-F967-BE07-A79A3B25DA46}"/>
                </a:ext>
              </a:extLst>
            </p:cNvPr>
            <p:cNvSpPr txBox="1"/>
            <p:nvPr/>
          </p:nvSpPr>
          <p:spPr>
            <a:xfrm>
              <a:off x="517991" y="4797198"/>
              <a:ext cx="22491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s</a:t>
              </a:r>
              <a:r>
                <a:rPr lang="en-US" dirty="0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qlServerAndDb</a:t>
              </a:r>
              <a:endParaRPr lang="en-US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DF59A1A5-B385-A26E-C52C-75D1E7B4A7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7931" y="3253567"/>
            <a:ext cx="2389754" cy="2877458"/>
          </a:xfrm>
          <a:custGeom>
            <a:avLst/>
            <a:gdLst>
              <a:gd name="connsiteX0" fmla="*/ 0 w 2389754"/>
              <a:gd name="connsiteY0" fmla="*/ 0 h 2877458"/>
              <a:gd name="connsiteX1" fmla="*/ 525746 w 2389754"/>
              <a:gd name="connsiteY1" fmla="*/ 0 h 2877458"/>
              <a:gd name="connsiteX2" fmla="*/ 1075389 w 2389754"/>
              <a:gd name="connsiteY2" fmla="*/ 0 h 2877458"/>
              <a:gd name="connsiteX3" fmla="*/ 1696725 w 2389754"/>
              <a:gd name="connsiteY3" fmla="*/ 0 h 2877458"/>
              <a:gd name="connsiteX4" fmla="*/ 2389754 w 2389754"/>
              <a:gd name="connsiteY4" fmla="*/ 0 h 2877458"/>
              <a:gd name="connsiteX5" fmla="*/ 2389754 w 2389754"/>
              <a:gd name="connsiteY5" fmla="*/ 517942 h 2877458"/>
              <a:gd name="connsiteX6" fmla="*/ 2389754 w 2389754"/>
              <a:gd name="connsiteY6" fmla="*/ 1007110 h 2877458"/>
              <a:gd name="connsiteX7" fmla="*/ 2389754 w 2389754"/>
              <a:gd name="connsiteY7" fmla="*/ 1496278 h 2877458"/>
              <a:gd name="connsiteX8" fmla="*/ 2389754 w 2389754"/>
              <a:gd name="connsiteY8" fmla="*/ 2071770 h 2877458"/>
              <a:gd name="connsiteX9" fmla="*/ 2389754 w 2389754"/>
              <a:gd name="connsiteY9" fmla="*/ 2877458 h 2877458"/>
              <a:gd name="connsiteX10" fmla="*/ 1768418 w 2389754"/>
              <a:gd name="connsiteY10" fmla="*/ 2877458 h 2877458"/>
              <a:gd name="connsiteX11" fmla="*/ 1194877 w 2389754"/>
              <a:gd name="connsiteY11" fmla="*/ 2877458 h 2877458"/>
              <a:gd name="connsiteX12" fmla="*/ 669131 w 2389754"/>
              <a:gd name="connsiteY12" fmla="*/ 2877458 h 2877458"/>
              <a:gd name="connsiteX13" fmla="*/ 0 w 2389754"/>
              <a:gd name="connsiteY13" fmla="*/ 2877458 h 2877458"/>
              <a:gd name="connsiteX14" fmla="*/ 0 w 2389754"/>
              <a:gd name="connsiteY14" fmla="*/ 2359516 h 2877458"/>
              <a:gd name="connsiteX15" fmla="*/ 0 w 2389754"/>
              <a:gd name="connsiteY15" fmla="*/ 1784024 h 2877458"/>
              <a:gd name="connsiteX16" fmla="*/ 0 w 2389754"/>
              <a:gd name="connsiteY16" fmla="*/ 1150983 h 2877458"/>
              <a:gd name="connsiteX17" fmla="*/ 0 w 2389754"/>
              <a:gd name="connsiteY17" fmla="*/ 633041 h 2877458"/>
              <a:gd name="connsiteX18" fmla="*/ 0 w 2389754"/>
              <a:gd name="connsiteY18" fmla="*/ 0 h 287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89754" h="2877458" fill="none" extrusionOk="0">
                <a:moveTo>
                  <a:pt x="0" y="0"/>
                </a:moveTo>
                <a:cubicBezTo>
                  <a:pt x="133107" y="-23435"/>
                  <a:pt x="299730" y="-5013"/>
                  <a:pt x="525746" y="0"/>
                </a:cubicBezTo>
                <a:cubicBezTo>
                  <a:pt x="751762" y="5013"/>
                  <a:pt x="892925" y="-1822"/>
                  <a:pt x="1075389" y="0"/>
                </a:cubicBezTo>
                <a:cubicBezTo>
                  <a:pt x="1257853" y="1822"/>
                  <a:pt x="1500302" y="-10162"/>
                  <a:pt x="1696725" y="0"/>
                </a:cubicBezTo>
                <a:cubicBezTo>
                  <a:pt x="1893148" y="10162"/>
                  <a:pt x="2049565" y="-20828"/>
                  <a:pt x="2389754" y="0"/>
                </a:cubicBezTo>
                <a:cubicBezTo>
                  <a:pt x="2402202" y="203869"/>
                  <a:pt x="2387950" y="352813"/>
                  <a:pt x="2389754" y="517942"/>
                </a:cubicBezTo>
                <a:cubicBezTo>
                  <a:pt x="2391558" y="683071"/>
                  <a:pt x="2409321" y="825678"/>
                  <a:pt x="2389754" y="1007110"/>
                </a:cubicBezTo>
                <a:cubicBezTo>
                  <a:pt x="2370187" y="1188542"/>
                  <a:pt x="2402895" y="1339331"/>
                  <a:pt x="2389754" y="1496278"/>
                </a:cubicBezTo>
                <a:cubicBezTo>
                  <a:pt x="2376613" y="1653225"/>
                  <a:pt x="2399904" y="1937260"/>
                  <a:pt x="2389754" y="2071770"/>
                </a:cubicBezTo>
                <a:cubicBezTo>
                  <a:pt x="2379604" y="2206280"/>
                  <a:pt x="2396390" y="2500278"/>
                  <a:pt x="2389754" y="2877458"/>
                </a:cubicBezTo>
                <a:cubicBezTo>
                  <a:pt x="2115157" y="2865682"/>
                  <a:pt x="1973929" y="2895244"/>
                  <a:pt x="1768418" y="2877458"/>
                </a:cubicBezTo>
                <a:cubicBezTo>
                  <a:pt x="1562907" y="2859672"/>
                  <a:pt x="1328025" y="2893368"/>
                  <a:pt x="1194877" y="2877458"/>
                </a:cubicBezTo>
                <a:cubicBezTo>
                  <a:pt x="1061729" y="2861548"/>
                  <a:pt x="914358" y="2882944"/>
                  <a:pt x="669131" y="2877458"/>
                </a:cubicBezTo>
                <a:cubicBezTo>
                  <a:pt x="423904" y="2871972"/>
                  <a:pt x="134926" y="2901033"/>
                  <a:pt x="0" y="2877458"/>
                </a:cubicBezTo>
                <a:cubicBezTo>
                  <a:pt x="-13808" y="2620348"/>
                  <a:pt x="-16436" y="2518149"/>
                  <a:pt x="0" y="2359516"/>
                </a:cubicBezTo>
                <a:cubicBezTo>
                  <a:pt x="16436" y="2200883"/>
                  <a:pt x="20426" y="1917169"/>
                  <a:pt x="0" y="1784024"/>
                </a:cubicBezTo>
                <a:cubicBezTo>
                  <a:pt x="-20426" y="1650879"/>
                  <a:pt x="-26934" y="1377101"/>
                  <a:pt x="0" y="1150983"/>
                </a:cubicBezTo>
                <a:cubicBezTo>
                  <a:pt x="26934" y="924865"/>
                  <a:pt x="-1498" y="760957"/>
                  <a:pt x="0" y="633041"/>
                </a:cubicBezTo>
                <a:cubicBezTo>
                  <a:pt x="1498" y="505125"/>
                  <a:pt x="-30856" y="299793"/>
                  <a:pt x="0" y="0"/>
                </a:cubicBezTo>
                <a:close/>
              </a:path>
              <a:path w="2389754" h="2877458" stroke="0" extrusionOk="0">
                <a:moveTo>
                  <a:pt x="0" y="0"/>
                </a:moveTo>
                <a:cubicBezTo>
                  <a:pt x="232365" y="22396"/>
                  <a:pt x="377446" y="-6112"/>
                  <a:pt x="573541" y="0"/>
                </a:cubicBezTo>
                <a:cubicBezTo>
                  <a:pt x="769636" y="6112"/>
                  <a:pt x="990591" y="-22253"/>
                  <a:pt x="1099287" y="0"/>
                </a:cubicBezTo>
                <a:cubicBezTo>
                  <a:pt x="1207983" y="22253"/>
                  <a:pt x="1572197" y="-29793"/>
                  <a:pt x="1744520" y="0"/>
                </a:cubicBezTo>
                <a:cubicBezTo>
                  <a:pt x="1916843" y="29793"/>
                  <a:pt x="2226119" y="11190"/>
                  <a:pt x="2389754" y="0"/>
                </a:cubicBezTo>
                <a:cubicBezTo>
                  <a:pt x="2410754" y="158609"/>
                  <a:pt x="2385810" y="282181"/>
                  <a:pt x="2389754" y="546717"/>
                </a:cubicBezTo>
                <a:cubicBezTo>
                  <a:pt x="2393698" y="811253"/>
                  <a:pt x="2374729" y="834189"/>
                  <a:pt x="2389754" y="1064659"/>
                </a:cubicBezTo>
                <a:cubicBezTo>
                  <a:pt x="2404779" y="1295129"/>
                  <a:pt x="2398609" y="1502835"/>
                  <a:pt x="2389754" y="1640151"/>
                </a:cubicBezTo>
                <a:cubicBezTo>
                  <a:pt x="2380899" y="1777467"/>
                  <a:pt x="2390146" y="1983893"/>
                  <a:pt x="2389754" y="2215643"/>
                </a:cubicBezTo>
                <a:cubicBezTo>
                  <a:pt x="2389362" y="2447393"/>
                  <a:pt x="2378857" y="2567891"/>
                  <a:pt x="2389754" y="2877458"/>
                </a:cubicBezTo>
                <a:cubicBezTo>
                  <a:pt x="2127505" y="2853983"/>
                  <a:pt x="2080544" y="2900121"/>
                  <a:pt x="1840111" y="2877458"/>
                </a:cubicBezTo>
                <a:cubicBezTo>
                  <a:pt x="1599678" y="2854795"/>
                  <a:pt x="1368046" y="2854301"/>
                  <a:pt x="1242672" y="2877458"/>
                </a:cubicBezTo>
                <a:cubicBezTo>
                  <a:pt x="1117298" y="2900615"/>
                  <a:pt x="943880" y="2864572"/>
                  <a:pt x="669131" y="2877458"/>
                </a:cubicBezTo>
                <a:cubicBezTo>
                  <a:pt x="394382" y="2890344"/>
                  <a:pt x="193358" y="2883788"/>
                  <a:pt x="0" y="2877458"/>
                </a:cubicBezTo>
                <a:cubicBezTo>
                  <a:pt x="13521" y="2564229"/>
                  <a:pt x="-17920" y="2381602"/>
                  <a:pt x="0" y="2244417"/>
                </a:cubicBezTo>
                <a:cubicBezTo>
                  <a:pt x="17920" y="2107232"/>
                  <a:pt x="-30553" y="1887858"/>
                  <a:pt x="0" y="1611376"/>
                </a:cubicBezTo>
                <a:cubicBezTo>
                  <a:pt x="30553" y="1334894"/>
                  <a:pt x="-4126" y="1318349"/>
                  <a:pt x="0" y="1035885"/>
                </a:cubicBezTo>
                <a:cubicBezTo>
                  <a:pt x="4126" y="753421"/>
                  <a:pt x="31887" y="358663"/>
                  <a:pt x="0" y="0"/>
                </a:cubicBezTo>
                <a:close/>
              </a:path>
            </a:pathLst>
          </a:custGeom>
          <a:ln>
            <a:solidFill>
              <a:schemeClr val="accent4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5B7EA1-72BA-DDB8-A8ED-08B20CFD40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56002" y="3253567"/>
            <a:ext cx="4063630" cy="2923526"/>
          </a:xfrm>
          <a:custGeom>
            <a:avLst/>
            <a:gdLst>
              <a:gd name="connsiteX0" fmla="*/ 0 w 4063630"/>
              <a:gd name="connsiteY0" fmla="*/ 0 h 2923526"/>
              <a:gd name="connsiteX1" fmla="*/ 758544 w 4063630"/>
              <a:gd name="connsiteY1" fmla="*/ 0 h 2923526"/>
              <a:gd name="connsiteX2" fmla="*/ 1476452 w 4063630"/>
              <a:gd name="connsiteY2" fmla="*/ 0 h 2923526"/>
              <a:gd name="connsiteX3" fmla="*/ 2153724 w 4063630"/>
              <a:gd name="connsiteY3" fmla="*/ 0 h 2923526"/>
              <a:gd name="connsiteX4" fmla="*/ 2830996 w 4063630"/>
              <a:gd name="connsiteY4" fmla="*/ 0 h 2923526"/>
              <a:gd name="connsiteX5" fmla="*/ 4063630 w 4063630"/>
              <a:gd name="connsiteY5" fmla="*/ 0 h 2923526"/>
              <a:gd name="connsiteX6" fmla="*/ 4063630 w 4063630"/>
              <a:gd name="connsiteY6" fmla="*/ 613940 h 2923526"/>
              <a:gd name="connsiteX7" fmla="*/ 4063630 w 4063630"/>
              <a:gd name="connsiteY7" fmla="*/ 1140175 h 2923526"/>
              <a:gd name="connsiteX8" fmla="*/ 4063630 w 4063630"/>
              <a:gd name="connsiteY8" fmla="*/ 1754116 h 2923526"/>
              <a:gd name="connsiteX9" fmla="*/ 4063630 w 4063630"/>
              <a:gd name="connsiteY9" fmla="*/ 2251115 h 2923526"/>
              <a:gd name="connsiteX10" fmla="*/ 4063630 w 4063630"/>
              <a:gd name="connsiteY10" fmla="*/ 2923526 h 2923526"/>
              <a:gd name="connsiteX11" fmla="*/ 3467631 w 4063630"/>
              <a:gd name="connsiteY11" fmla="*/ 2923526 h 2923526"/>
              <a:gd name="connsiteX12" fmla="*/ 2709087 w 4063630"/>
              <a:gd name="connsiteY12" fmla="*/ 2923526 h 2923526"/>
              <a:gd name="connsiteX13" fmla="*/ 2072451 w 4063630"/>
              <a:gd name="connsiteY13" fmla="*/ 2923526 h 2923526"/>
              <a:gd name="connsiteX14" fmla="*/ 1313907 w 4063630"/>
              <a:gd name="connsiteY14" fmla="*/ 2923526 h 2923526"/>
              <a:gd name="connsiteX15" fmla="*/ 717908 w 4063630"/>
              <a:gd name="connsiteY15" fmla="*/ 2923526 h 2923526"/>
              <a:gd name="connsiteX16" fmla="*/ 0 w 4063630"/>
              <a:gd name="connsiteY16" fmla="*/ 2923526 h 2923526"/>
              <a:gd name="connsiteX17" fmla="*/ 0 w 4063630"/>
              <a:gd name="connsiteY17" fmla="*/ 2426527 h 2923526"/>
              <a:gd name="connsiteX18" fmla="*/ 0 w 4063630"/>
              <a:gd name="connsiteY18" fmla="*/ 1929527 h 2923526"/>
              <a:gd name="connsiteX19" fmla="*/ 0 w 4063630"/>
              <a:gd name="connsiteY19" fmla="*/ 1432528 h 2923526"/>
              <a:gd name="connsiteX20" fmla="*/ 0 w 4063630"/>
              <a:gd name="connsiteY20" fmla="*/ 789352 h 2923526"/>
              <a:gd name="connsiteX21" fmla="*/ 0 w 4063630"/>
              <a:gd name="connsiteY21" fmla="*/ 0 h 2923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063630" h="2923526" fill="none" extrusionOk="0">
                <a:moveTo>
                  <a:pt x="0" y="0"/>
                </a:moveTo>
                <a:cubicBezTo>
                  <a:pt x="247644" y="28285"/>
                  <a:pt x="485734" y="-7486"/>
                  <a:pt x="758544" y="0"/>
                </a:cubicBezTo>
                <a:cubicBezTo>
                  <a:pt x="1031354" y="7486"/>
                  <a:pt x="1178682" y="-17452"/>
                  <a:pt x="1476452" y="0"/>
                </a:cubicBezTo>
                <a:cubicBezTo>
                  <a:pt x="1774222" y="17452"/>
                  <a:pt x="1824013" y="33352"/>
                  <a:pt x="2153724" y="0"/>
                </a:cubicBezTo>
                <a:cubicBezTo>
                  <a:pt x="2483435" y="-33352"/>
                  <a:pt x="2564462" y="5883"/>
                  <a:pt x="2830996" y="0"/>
                </a:cubicBezTo>
                <a:cubicBezTo>
                  <a:pt x="3097530" y="-5883"/>
                  <a:pt x="3537464" y="-22487"/>
                  <a:pt x="4063630" y="0"/>
                </a:cubicBezTo>
                <a:cubicBezTo>
                  <a:pt x="4083619" y="187530"/>
                  <a:pt x="4069864" y="423295"/>
                  <a:pt x="4063630" y="613940"/>
                </a:cubicBezTo>
                <a:cubicBezTo>
                  <a:pt x="4057396" y="804585"/>
                  <a:pt x="4075126" y="950481"/>
                  <a:pt x="4063630" y="1140175"/>
                </a:cubicBezTo>
                <a:cubicBezTo>
                  <a:pt x="4052134" y="1329870"/>
                  <a:pt x="4073458" y="1577989"/>
                  <a:pt x="4063630" y="1754116"/>
                </a:cubicBezTo>
                <a:cubicBezTo>
                  <a:pt x="4053802" y="1930243"/>
                  <a:pt x="4046432" y="2141027"/>
                  <a:pt x="4063630" y="2251115"/>
                </a:cubicBezTo>
                <a:cubicBezTo>
                  <a:pt x="4080828" y="2361203"/>
                  <a:pt x="4091934" y="2646779"/>
                  <a:pt x="4063630" y="2923526"/>
                </a:cubicBezTo>
                <a:cubicBezTo>
                  <a:pt x="3795274" y="2920891"/>
                  <a:pt x="3732435" y="2915187"/>
                  <a:pt x="3467631" y="2923526"/>
                </a:cubicBezTo>
                <a:cubicBezTo>
                  <a:pt x="3202827" y="2931865"/>
                  <a:pt x="2952366" y="2948692"/>
                  <a:pt x="2709087" y="2923526"/>
                </a:cubicBezTo>
                <a:cubicBezTo>
                  <a:pt x="2465808" y="2898360"/>
                  <a:pt x="2275957" y="2930073"/>
                  <a:pt x="2072451" y="2923526"/>
                </a:cubicBezTo>
                <a:cubicBezTo>
                  <a:pt x="1868945" y="2916979"/>
                  <a:pt x="1583481" y="2908661"/>
                  <a:pt x="1313907" y="2923526"/>
                </a:cubicBezTo>
                <a:cubicBezTo>
                  <a:pt x="1044333" y="2938391"/>
                  <a:pt x="992445" y="2938863"/>
                  <a:pt x="717908" y="2923526"/>
                </a:cubicBezTo>
                <a:cubicBezTo>
                  <a:pt x="443371" y="2908189"/>
                  <a:pt x="291352" y="2900995"/>
                  <a:pt x="0" y="2923526"/>
                </a:cubicBezTo>
                <a:cubicBezTo>
                  <a:pt x="1373" y="2724281"/>
                  <a:pt x="-92" y="2570503"/>
                  <a:pt x="0" y="2426527"/>
                </a:cubicBezTo>
                <a:cubicBezTo>
                  <a:pt x="92" y="2282551"/>
                  <a:pt x="-3497" y="2137812"/>
                  <a:pt x="0" y="1929527"/>
                </a:cubicBezTo>
                <a:cubicBezTo>
                  <a:pt x="3497" y="1721242"/>
                  <a:pt x="19849" y="1533148"/>
                  <a:pt x="0" y="1432528"/>
                </a:cubicBezTo>
                <a:cubicBezTo>
                  <a:pt x="-19849" y="1331908"/>
                  <a:pt x="22058" y="1104536"/>
                  <a:pt x="0" y="789352"/>
                </a:cubicBezTo>
                <a:cubicBezTo>
                  <a:pt x="-22058" y="474168"/>
                  <a:pt x="19221" y="340770"/>
                  <a:pt x="0" y="0"/>
                </a:cubicBezTo>
                <a:close/>
              </a:path>
              <a:path w="4063630" h="2923526" stroke="0" extrusionOk="0">
                <a:moveTo>
                  <a:pt x="0" y="0"/>
                </a:moveTo>
                <a:cubicBezTo>
                  <a:pt x="128503" y="-2086"/>
                  <a:pt x="393350" y="-22340"/>
                  <a:pt x="636635" y="0"/>
                </a:cubicBezTo>
                <a:cubicBezTo>
                  <a:pt x="879920" y="22340"/>
                  <a:pt x="1035071" y="-10689"/>
                  <a:pt x="1191998" y="0"/>
                </a:cubicBezTo>
                <a:cubicBezTo>
                  <a:pt x="1348925" y="10689"/>
                  <a:pt x="1689861" y="-17033"/>
                  <a:pt x="1950542" y="0"/>
                </a:cubicBezTo>
                <a:cubicBezTo>
                  <a:pt x="2211223" y="17033"/>
                  <a:pt x="2457492" y="26160"/>
                  <a:pt x="2587178" y="0"/>
                </a:cubicBezTo>
                <a:cubicBezTo>
                  <a:pt x="2716864" y="-26160"/>
                  <a:pt x="3051465" y="983"/>
                  <a:pt x="3223813" y="0"/>
                </a:cubicBezTo>
                <a:cubicBezTo>
                  <a:pt x="3396161" y="-983"/>
                  <a:pt x="3660109" y="-4880"/>
                  <a:pt x="4063630" y="0"/>
                </a:cubicBezTo>
                <a:cubicBezTo>
                  <a:pt x="4068709" y="213089"/>
                  <a:pt x="4068706" y="310032"/>
                  <a:pt x="4063630" y="526235"/>
                </a:cubicBezTo>
                <a:cubicBezTo>
                  <a:pt x="4058554" y="742439"/>
                  <a:pt x="4075100" y="821608"/>
                  <a:pt x="4063630" y="1110940"/>
                </a:cubicBezTo>
                <a:cubicBezTo>
                  <a:pt x="4052160" y="1400273"/>
                  <a:pt x="4089441" y="1474934"/>
                  <a:pt x="4063630" y="1637175"/>
                </a:cubicBezTo>
                <a:cubicBezTo>
                  <a:pt x="4037819" y="1799417"/>
                  <a:pt x="4059799" y="2022877"/>
                  <a:pt x="4063630" y="2163409"/>
                </a:cubicBezTo>
                <a:cubicBezTo>
                  <a:pt x="4067461" y="2303941"/>
                  <a:pt x="4066444" y="2664872"/>
                  <a:pt x="4063630" y="2923526"/>
                </a:cubicBezTo>
                <a:cubicBezTo>
                  <a:pt x="3874648" y="2890708"/>
                  <a:pt x="3522855" y="2919314"/>
                  <a:pt x="3345722" y="2923526"/>
                </a:cubicBezTo>
                <a:cubicBezTo>
                  <a:pt x="3168589" y="2927738"/>
                  <a:pt x="2856175" y="2887062"/>
                  <a:pt x="2587178" y="2923526"/>
                </a:cubicBezTo>
                <a:cubicBezTo>
                  <a:pt x="2318181" y="2959990"/>
                  <a:pt x="2043736" y="2932511"/>
                  <a:pt x="1828634" y="2923526"/>
                </a:cubicBezTo>
                <a:cubicBezTo>
                  <a:pt x="1613532" y="2914541"/>
                  <a:pt x="1511890" y="2926555"/>
                  <a:pt x="1232634" y="2923526"/>
                </a:cubicBezTo>
                <a:cubicBezTo>
                  <a:pt x="953378" y="2920497"/>
                  <a:pt x="554190" y="2930531"/>
                  <a:pt x="0" y="2923526"/>
                </a:cubicBezTo>
                <a:cubicBezTo>
                  <a:pt x="1053" y="2624952"/>
                  <a:pt x="26705" y="2454867"/>
                  <a:pt x="0" y="2280350"/>
                </a:cubicBezTo>
                <a:cubicBezTo>
                  <a:pt x="-26705" y="2105833"/>
                  <a:pt x="1206" y="2028193"/>
                  <a:pt x="0" y="1783351"/>
                </a:cubicBezTo>
                <a:cubicBezTo>
                  <a:pt x="-1206" y="1538509"/>
                  <a:pt x="11936" y="1414810"/>
                  <a:pt x="0" y="1257116"/>
                </a:cubicBezTo>
                <a:cubicBezTo>
                  <a:pt x="-11936" y="1099423"/>
                  <a:pt x="-6444" y="967434"/>
                  <a:pt x="0" y="730881"/>
                </a:cubicBezTo>
                <a:cubicBezTo>
                  <a:pt x="6444" y="494329"/>
                  <a:pt x="-20618" y="192484"/>
                  <a:pt x="0" y="0"/>
                </a:cubicBezTo>
                <a:close/>
              </a:path>
            </a:pathLst>
          </a:custGeom>
          <a:ln>
            <a:solidFill>
              <a:schemeClr val="accent1">
                <a:lumMod val="5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92182359-494F-07E1-AAD5-B90FFBB77957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E1F9C38-87D0-3D49-50C8-34977BF6019D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F04619E-A7A3-E7F3-1D25-02B0052C106F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0782430-C68F-ADC4-91D5-99C4CF2E3C89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24FDDFB-07C5-0261-CE5B-3054B7D8F70A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22" name="Freeform 78">
                <a:extLst>
                  <a:ext uri="{FF2B5EF4-FFF2-40B4-BE49-F238E27FC236}">
                    <a16:creationId xmlns:a16="http://schemas.microsoft.com/office/drawing/2014/main" id="{FCCA182E-BEDD-F891-8966-1DEBD97490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" name="Freeform 79">
                <a:extLst>
                  <a:ext uri="{FF2B5EF4-FFF2-40B4-BE49-F238E27FC236}">
                    <a16:creationId xmlns:a16="http://schemas.microsoft.com/office/drawing/2014/main" id="{79EB7214-1FBF-ADE6-2E73-34D3D1BC3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" name="Freeform 80">
                <a:extLst>
                  <a:ext uri="{FF2B5EF4-FFF2-40B4-BE49-F238E27FC236}">
                    <a16:creationId xmlns:a16="http://schemas.microsoft.com/office/drawing/2014/main" id="{37013728-CD6C-B9B7-688C-2D62846F3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Freeform 81">
                <a:extLst>
                  <a:ext uri="{FF2B5EF4-FFF2-40B4-BE49-F238E27FC236}">
                    <a16:creationId xmlns:a16="http://schemas.microsoft.com/office/drawing/2014/main" id="{50B348CD-37A7-12A8-6957-840B38A32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" name="Freeform 82">
                <a:extLst>
                  <a:ext uri="{FF2B5EF4-FFF2-40B4-BE49-F238E27FC236}">
                    <a16:creationId xmlns:a16="http://schemas.microsoft.com/office/drawing/2014/main" id="{2A176BC7-BD7A-6EA7-B372-2D6806FF5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" name="Freeform 83">
                <a:extLst>
                  <a:ext uri="{FF2B5EF4-FFF2-40B4-BE49-F238E27FC236}">
                    <a16:creationId xmlns:a16="http://schemas.microsoft.com/office/drawing/2014/main" id="{3001CDAD-490D-8E3B-1668-7945EAE77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" name="Freeform 84">
                <a:extLst>
                  <a:ext uri="{FF2B5EF4-FFF2-40B4-BE49-F238E27FC236}">
                    <a16:creationId xmlns:a16="http://schemas.microsoft.com/office/drawing/2014/main" id="{37ED447B-7EED-44F1-0213-1C38E297B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" name="Freeform 85">
                <a:extLst>
                  <a:ext uri="{FF2B5EF4-FFF2-40B4-BE49-F238E27FC236}">
                    <a16:creationId xmlns:a16="http://schemas.microsoft.com/office/drawing/2014/main" id="{BF0724B6-41A8-0FE0-968B-7F45EB369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" name="Freeform 86">
                <a:extLst>
                  <a:ext uri="{FF2B5EF4-FFF2-40B4-BE49-F238E27FC236}">
                    <a16:creationId xmlns:a16="http://schemas.microsoft.com/office/drawing/2014/main" id="{2DC21820-7621-3063-2E1E-425F6C694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" name="Freeform 87">
                <a:extLst>
                  <a:ext uri="{FF2B5EF4-FFF2-40B4-BE49-F238E27FC236}">
                    <a16:creationId xmlns:a16="http://schemas.microsoft.com/office/drawing/2014/main" id="{DE0696BF-3EFE-B677-B422-92D413606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" name="Freeform 88">
                <a:extLst>
                  <a:ext uri="{FF2B5EF4-FFF2-40B4-BE49-F238E27FC236}">
                    <a16:creationId xmlns:a16="http://schemas.microsoft.com/office/drawing/2014/main" id="{CD2A1BEF-FF0A-2CC1-196D-D25096380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" name="Freeform 89">
                <a:extLst>
                  <a:ext uri="{FF2B5EF4-FFF2-40B4-BE49-F238E27FC236}">
                    <a16:creationId xmlns:a16="http://schemas.microsoft.com/office/drawing/2014/main" id="{AD2D8C09-9ED7-D4D4-7E86-EE68E0B0C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3BB8279-E390-D2A2-8D3D-5DF6E8099412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336ACB4-B055-41A1-D5E5-87711D04BEA6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7" name="Rectángulo redondeado 14">
              <a:extLst>
                <a:ext uri="{FF2B5EF4-FFF2-40B4-BE49-F238E27FC236}">
                  <a16:creationId xmlns:a16="http://schemas.microsoft.com/office/drawing/2014/main" id="{08488198-9050-8345-2571-1595D919CCBA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8" name="Rectángulo 12">
              <a:extLst>
                <a:ext uri="{FF2B5EF4-FFF2-40B4-BE49-F238E27FC236}">
                  <a16:creationId xmlns:a16="http://schemas.microsoft.com/office/drawing/2014/main" id="{EE69D4A6-6CF4-4A93-B880-2093452A600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UI composi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19624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4" y="1825625"/>
            <a:ext cx="4954814" cy="4270375"/>
          </a:xfrm>
        </p:spPr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Rich UI for Portal User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etter Input validation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UI development does not require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SoftDev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skill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Supports versioning with release note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dempotency-er (dependencies are always statically included)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No Bicep registry needed for distribution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Universal piece of the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puzzle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ortal User identity and RBAC used</a:t>
            </a: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618E747-3ED6-C2AE-EB17-E07ACC73CB9C}"/>
              </a:ext>
            </a:extLst>
          </p:cNvPr>
          <p:cNvSpPr txBox="1">
            <a:spLocks/>
          </p:cNvSpPr>
          <p:nvPr/>
        </p:nvSpPr>
        <p:spPr>
          <a:xfrm>
            <a:off x="6193971" y="1825624"/>
            <a:ext cx="5433785" cy="4270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ortal UI does not support Deployment Stack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nitial deployment cannot be named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JSON UI definition complicates with scale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ortal User identity and RBAC used (might be tricky to refine RBAC)</a:t>
            </a: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D0B1ADA-681B-5A84-223A-6302E7D76837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9" name="Rectángulo redondeado 14">
              <a:extLst>
                <a:ext uri="{FF2B5EF4-FFF2-40B4-BE49-F238E27FC236}">
                  <a16:creationId xmlns:a16="http://schemas.microsoft.com/office/drawing/2014/main" id="{434522CD-F1BA-EA12-6900-D7C1F579C0DE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ángulo 12">
              <a:extLst>
                <a:ext uri="{FF2B5EF4-FFF2-40B4-BE49-F238E27FC236}">
                  <a16:creationId xmlns:a16="http://schemas.microsoft.com/office/drawing/2014/main" id="{4C3C6B42-B85B-868A-B57B-F054759CEF72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pros and 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41780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55449" y="1252539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/>
          </a:bodyPr>
          <a:lstStyle/>
          <a:p>
            <a:r>
              <a:rPr lang="en-US" sz="4400" b="1" dirty="0">
                <a:latin typeface="Segoe UI" panose="020B0502040204020203" pitchFamily="34" charset="0"/>
                <a:cs typeface="Segoe UI" panose="020B0502040204020203" pitchFamily="34" charset="0"/>
              </a:rPr>
              <a:t>Conclusion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S everywher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S for non prod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How applicable are they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9E8AF3D-1EAF-3D92-3CFA-C4A590B5AFD8}"/>
              </a:ext>
            </a:extLst>
          </p:cNvPr>
          <p:cNvGrpSpPr/>
          <p:nvPr/>
        </p:nvGrpSpPr>
        <p:grpSpPr>
          <a:xfrm>
            <a:off x="8034914" y="2225539"/>
            <a:ext cx="2827770" cy="2409877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4" name="Freeform 231">
              <a:extLst>
                <a:ext uri="{FF2B5EF4-FFF2-40B4-BE49-F238E27FC236}">
                  <a16:creationId xmlns:a16="http://schemas.microsoft.com/office/drawing/2014/main" id="{C9781F0F-166A-A156-9B94-A64847732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232">
              <a:extLst>
                <a:ext uri="{FF2B5EF4-FFF2-40B4-BE49-F238E27FC236}">
                  <a16:creationId xmlns:a16="http://schemas.microsoft.com/office/drawing/2014/main" id="{D07925B3-D07E-5682-2CD8-D26250059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233">
              <a:extLst>
                <a:ext uri="{FF2B5EF4-FFF2-40B4-BE49-F238E27FC236}">
                  <a16:creationId xmlns:a16="http://schemas.microsoft.com/office/drawing/2014/main" id="{344D02D9-C805-3125-FADF-63ACDB6AE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Oval 234">
              <a:extLst>
                <a:ext uri="{FF2B5EF4-FFF2-40B4-BE49-F238E27FC236}">
                  <a16:creationId xmlns:a16="http://schemas.microsoft.com/office/drawing/2014/main" id="{3E0BFF5F-04A7-F1F6-715B-17B0A469F4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235">
              <a:extLst>
                <a:ext uri="{FF2B5EF4-FFF2-40B4-BE49-F238E27FC236}">
                  <a16:creationId xmlns:a16="http://schemas.microsoft.com/office/drawing/2014/main" id="{32A5A03E-CCCF-675C-462D-53DA7371C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5975832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792687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at does that means? – UI form development might be unnecessary in large enterprises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6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3103689" y="2552293"/>
            <a:ext cx="1291179" cy="1287835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3020817" y="3707415"/>
            <a:ext cx="1397819" cy="369332"/>
          </a:xfrm>
          <a:custGeom>
            <a:avLst/>
            <a:gdLst>
              <a:gd name="connsiteX0" fmla="*/ 0 w 1397819"/>
              <a:gd name="connsiteY0" fmla="*/ 0 h 369332"/>
              <a:gd name="connsiteX1" fmla="*/ 451961 w 1397819"/>
              <a:gd name="connsiteY1" fmla="*/ 0 h 369332"/>
              <a:gd name="connsiteX2" fmla="*/ 875967 w 1397819"/>
              <a:gd name="connsiteY2" fmla="*/ 0 h 369332"/>
              <a:gd name="connsiteX3" fmla="*/ 1397819 w 1397819"/>
              <a:gd name="connsiteY3" fmla="*/ 0 h 369332"/>
              <a:gd name="connsiteX4" fmla="*/ 1397819 w 1397819"/>
              <a:gd name="connsiteY4" fmla="*/ 369332 h 369332"/>
              <a:gd name="connsiteX5" fmla="*/ 959836 w 1397819"/>
              <a:gd name="connsiteY5" fmla="*/ 369332 h 369332"/>
              <a:gd name="connsiteX6" fmla="*/ 465940 w 1397819"/>
              <a:gd name="connsiteY6" fmla="*/ 369332 h 369332"/>
              <a:gd name="connsiteX7" fmla="*/ 0 w 1397819"/>
              <a:gd name="connsiteY7" fmla="*/ 369332 h 369332"/>
              <a:gd name="connsiteX8" fmla="*/ 0 w 1397819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7819" h="369332" extrusionOk="0">
                <a:moveTo>
                  <a:pt x="0" y="0"/>
                </a:moveTo>
                <a:cubicBezTo>
                  <a:pt x="146299" y="-19519"/>
                  <a:pt x="313697" y="14352"/>
                  <a:pt x="451961" y="0"/>
                </a:cubicBezTo>
                <a:cubicBezTo>
                  <a:pt x="590225" y="-14352"/>
                  <a:pt x="723451" y="12726"/>
                  <a:pt x="875967" y="0"/>
                </a:cubicBezTo>
                <a:cubicBezTo>
                  <a:pt x="1028483" y="-12726"/>
                  <a:pt x="1198415" y="20924"/>
                  <a:pt x="1397819" y="0"/>
                </a:cubicBezTo>
                <a:cubicBezTo>
                  <a:pt x="1433407" y="113493"/>
                  <a:pt x="1371012" y="197069"/>
                  <a:pt x="1397819" y="369332"/>
                </a:cubicBezTo>
                <a:cubicBezTo>
                  <a:pt x="1188541" y="417934"/>
                  <a:pt x="1124288" y="367419"/>
                  <a:pt x="959836" y="369332"/>
                </a:cubicBezTo>
                <a:cubicBezTo>
                  <a:pt x="795384" y="371245"/>
                  <a:pt x="697215" y="321315"/>
                  <a:pt x="465940" y="369332"/>
                </a:cubicBezTo>
                <a:cubicBezTo>
                  <a:pt x="234665" y="417349"/>
                  <a:pt x="137017" y="34447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ortal User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4C819CB-44CB-D33A-9824-A4E4EB4E3B08}"/>
              </a:ext>
            </a:extLst>
          </p:cNvPr>
          <p:cNvGrpSpPr/>
          <p:nvPr/>
        </p:nvGrpSpPr>
        <p:grpSpPr>
          <a:xfrm>
            <a:off x="5300020" y="2937559"/>
            <a:ext cx="2397874" cy="2733316"/>
            <a:chOff x="4187983" y="2655114"/>
            <a:chExt cx="2397874" cy="2733316"/>
          </a:xfrm>
        </p:grpSpPr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C2FC9430-89FA-B6F5-FF73-09BF4CD95552}"/>
                </a:ext>
              </a:extLst>
            </p:cNvPr>
            <p:cNvSpPr txBox="1">
              <a:spLocks/>
            </p:cNvSpPr>
            <p:nvPr/>
          </p:nvSpPr>
          <p:spPr>
            <a:xfrm>
              <a:off x="4398363" y="4349404"/>
              <a:ext cx="2053029" cy="856986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ui.json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bicep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24EF291-C501-D101-0029-071EE9043CF4}"/>
                </a:ext>
              </a:extLst>
            </p:cNvPr>
            <p:cNvSpPr/>
            <p:nvPr/>
          </p:nvSpPr>
          <p:spPr>
            <a:xfrm>
              <a:off x="4187983" y="2655114"/>
              <a:ext cx="2397874" cy="2733316"/>
            </a:xfrm>
            <a:custGeom>
              <a:avLst/>
              <a:gdLst>
                <a:gd name="connsiteX0" fmla="*/ 0 w 2397874"/>
                <a:gd name="connsiteY0" fmla="*/ 399654 h 2733316"/>
                <a:gd name="connsiteX1" fmla="*/ 399654 w 2397874"/>
                <a:gd name="connsiteY1" fmla="*/ 0 h 2733316"/>
                <a:gd name="connsiteX2" fmla="*/ 964481 w 2397874"/>
                <a:gd name="connsiteY2" fmla="*/ 0 h 2733316"/>
                <a:gd name="connsiteX3" fmla="*/ 1481350 w 2397874"/>
                <a:gd name="connsiteY3" fmla="*/ 0 h 2733316"/>
                <a:gd name="connsiteX4" fmla="*/ 1998220 w 2397874"/>
                <a:gd name="connsiteY4" fmla="*/ 0 h 2733316"/>
                <a:gd name="connsiteX5" fmla="*/ 2397874 w 2397874"/>
                <a:gd name="connsiteY5" fmla="*/ 399654 h 2733316"/>
                <a:gd name="connsiteX6" fmla="*/ 2397874 w 2397874"/>
                <a:gd name="connsiteY6" fmla="*/ 844476 h 2733316"/>
                <a:gd name="connsiteX7" fmla="*/ 2397874 w 2397874"/>
                <a:gd name="connsiteY7" fmla="*/ 1289298 h 2733316"/>
                <a:gd name="connsiteX8" fmla="*/ 2397874 w 2397874"/>
                <a:gd name="connsiteY8" fmla="*/ 1811480 h 2733316"/>
                <a:gd name="connsiteX9" fmla="*/ 2397874 w 2397874"/>
                <a:gd name="connsiteY9" fmla="*/ 2333662 h 2733316"/>
                <a:gd name="connsiteX10" fmla="*/ 1998220 w 2397874"/>
                <a:gd name="connsiteY10" fmla="*/ 2733316 h 2733316"/>
                <a:gd name="connsiteX11" fmla="*/ 1449379 w 2397874"/>
                <a:gd name="connsiteY11" fmla="*/ 2733316 h 2733316"/>
                <a:gd name="connsiteX12" fmla="*/ 884552 w 2397874"/>
                <a:gd name="connsiteY12" fmla="*/ 2733316 h 2733316"/>
                <a:gd name="connsiteX13" fmla="*/ 399654 w 2397874"/>
                <a:gd name="connsiteY13" fmla="*/ 2733316 h 2733316"/>
                <a:gd name="connsiteX14" fmla="*/ 0 w 2397874"/>
                <a:gd name="connsiteY14" fmla="*/ 2333662 h 2733316"/>
                <a:gd name="connsiteX15" fmla="*/ 0 w 2397874"/>
                <a:gd name="connsiteY15" fmla="*/ 1830820 h 2733316"/>
                <a:gd name="connsiteX16" fmla="*/ 0 w 2397874"/>
                <a:gd name="connsiteY16" fmla="*/ 1347318 h 2733316"/>
                <a:gd name="connsiteX17" fmla="*/ 0 w 2397874"/>
                <a:gd name="connsiteY17" fmla="*/ 921836 h 2733316"/>
                <a:gd name="connsiteX18" fmla="*/ 0 w 2397874"/>
                <a:gd name="connsiteY18" fmla="*/ 399654 h 273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7874" h="2733316" extrusionOk="0">
                  <a:moveTo>
                    <a:pt x="0" y="399654"/>
                  </a:moveTo>
                  <a:cubicBezTo>
                    <a:pt x="-10482" y="172466"/>
                    <a:pt x="152588" y="9887"/>
                    <a:pt x="399654" y="0"/>
                  </a:cubicBezTo>
                  <a:cubicBezTo>
                    <a:pt x="540667" y="-11066"/>
                    <a:pt x="695052" y="22642"/>
                    <a:pt x="964481" y="0"/>
                  </a:cubicBezTo>
                  <a:cubicBezTo>
                    <a:pt x="1233910" y="-22642"/>
                    <a:pt x="1262477" y="1226"/>
                    <a:pt x="1481350" y="0"/>
                  </a:cubicBezTo>
                  <a:cubicBezTo>
                    <a:pt x="1700223" y="-1226"/>
                    <a:pt x="1885382" y="38571"/>
                    <a:pt x="1998220" y="0"/>
                  </a:cubicBezTo>
                  <a:cubicBezTo>
                    <a:pt x="2208875" y="-32428"/>
                    <a:pt x="2403850" y="156817"/>
                    <a:pt x="2397874" y="399654"/>
                  </a:cubicBezTo>
                  <a:cubicBezTo>
                    <a:pt x="2451140" y="558425"/>
                    <a:pt x="2388997" y="726433"/>
                    <a:pt x="2397874" y="844476"/>
                  </a:cubicBezTo>
                  <a:cubicBezTo>
                    <a:pt x="2406751" y="962519"/>
                    <a:pt x="2384850" y="1113238"/>
                    <a:pt x="2397874" y="1289298"/>
                  </a:cubicBezTo>
                  <a:cubicBezTo>
                    <a:pt x="2410898" y="1465358"/>
                    <a:pt x="2368204" y="1643424"/>
                    <a:pt x="2397874" y="1811480"/>
                  </a:cubicBezTo>
                  <a:cubicBezTo>
                    <a:pt x="2427544" y="1979536"/>
                    <a:pt x="2355214" y="2219126"/>
                    <a:pt x="2397874" y="2333662"/>
                  </a:cubicBezTo>
                  <a:cubicBezTo>
                    <a:pt x="2391322" y="2554010"/>
                    <a:pt x="2223980" y="2719503"/>
                    <a:pt x="1998220" y="2733316"/>
                  </a:cubicBezTo>
                  <a:cubicBezTo>
                    <a:pt x="1778184" y="2765386"/>
                    <a:pt x="1564337" y="2673273"/>
                    <a:pt x="1449379" y="2733316"/>
                  </a:cubicBezTo>
                  <a:cubicBezTo>
                    <a:pt x="1334421" y="2793359"/>
                    <a:pt x="1041443" y="2685170"/>
                    <a:pt x="884552" y="2733316"/>
                  </a:cubicBezTo>
                  <a:cubicBezTo>
                    <a:pt x="727661" y="2781462"/>
                    <a:pt x="548119" y="2732036"/>
                    <a:pt x="399654" y="2733316"/>
                  </a:cubicBezTo>
                  <a:cubicBezTo>
                    <a:pt x="128869" y="2741537"/>
                    <a:pt x="-27707" y="2535268"/>
                    <a:pt x="0" y="2333662"/>
                  </a:cubicBezTo>
                  <a:cubicBezTo>
                    <a:pt x="-46360" y="2218243"/>
                    <a:pt x="59734" y="2029316"/>
                    <a:pt x="0" y="1830820"/>
                  </a:cubicBezTo>
                  <a:cubicBezTo>
                    <a:pt x="-59734" y="1632324"/>
                    <a:pt x="6734" y="1552325"/>
                    <a:pt x="0" y="1347318"/>
                  </a:cubicBezTo>
                  <a:cubicBezTo>
                    <a:pt x="-6734" y="1142311"/>
                    <a:pt x="44272" y="1098623"/>
                    <a:pt x="0" y="921836"/>
                  </a:cubicBezTo>
                  <a:cubicBezTo>
                    <a:pt x="-44272" y="745049"/>
                    <a:pt x="59653" y="639142"/>
                    <a:pt x="0" y="399654"/>
                  </a:cubicBezTo>
                  <a:close/>
                </a:path>
              </a:pathLst>
            </a:custGeom>
            <a:noFill/>
            <a:ln w="25400"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35B091D-0AC3-8352-5FC4-534BEEAB9F6D}"/>
                </a:ext>
              </a:extLst>
            </p:cNvPr>
            <p:cNvGrpSpPr/>
            <p:nvPr/>
          </p:nvGrpSpPr>
          <p:grpSpPr>
            <a:xfrm>
              <a:off x="4821882" y="2814862"/>
              <a:ext cx="1205990" cy="1353021"/>
              <a:chOff x="6618867" y="3226748"/>
              <a:chExt cx="1025861" cy="1089287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B4128EE-DA62-3C7D-8014-A881FECF1B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68572" y="3226748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3B3078C3-8143-909C-2BEE-0B8CD50B3D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58686" y="3315374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36C88CD1-5045-3A5E-AD25-30704E22BD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18867" y="3429000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F126B8A-93B9-D2F9-F159-4B8D2A75B3DD}"/>
              </a:ext>
            </a:extLst>
          </p:cNvPr>
          <p:cNvGrpSpPr/>
          <p:nvPr/>
        </p:nvGrpSpPr>
        <p:grpSpPr>
          <a:xfrm>
            <a:off x="8235766" y="2552293"/>
            <a:ext cx="3226438" cy="3168521"/>
            <a:chOff x="7532914" y="2526460"/>
            <a:chExt cx="3226438" cy="3168521"/>
          </a:xfrm>
        </p:grpSpPr>
        <p:pic>
          <p:nvPicPr>
            <p:cNvPr id="15" name="Picture 14" descr="A blue letter a made of toy building blocks&#10;&#10;Description automatically generated">
              <a:extLst>
                <a:ext uri="{FF2B5EF4-FFF2-40B4-BE49-F238E27FC236}">
                  <a16:creationId xmlns:a16="http://schemas.microsoft.com/office/drawing/2014/main" id="{FCC4914A-A8C0-9BC5-4089-27074B66A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7925" y="2526460"/>
              <a:ext cx="1963754" cy="1963754"/>
            </a:xfrm>
            <a:prstGeom prst="rect">
              <a:avLst/>
            </a:prstGeom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804B82E-E9C1-DD3E-AEBA-9A64F4356BD5}"/>
                </a:ext>
              </a:extLst>
            </p:cNvPr>
            <p:cNvSpPr/>
            <p:nvPr/>
          </p:nvSpPr>
          <p:spPr>
            <a:xfrm>
              <a:off x="8729254" y="4337825"/>
              <a:ext cx="1270677" cy="386034"/>
            </a:xfrm>
            <a:custGeom>
              <a:avLst/>
              <a:gdLst>
                <a:gd name="connsiteX0" fmla="*/ 0 w 1270677"/>
                <a:gd name="connsiteY0" fmla="*/ 64340 h 386034"/>
                <a:gd name="connsiteX1" fmla="*/ 64340 w 1270677"/>
                <a:gd name="connsiteY1" fmla="*/ 0 h 386034"/>
                <a:gd name="connsiteX2" fmla="*/ 658178 w 1270677"/>
                <a:gd name="connsiteY2" fmla="*/ 0 h 386034"/>
                <a:gd name="connsiteX3" fmla="*/ 1206337 w 1270677"/>
                <a:gd name="connsiteY3" fmla="*/ 0 h 386034"/>
                <a:gd name="connsiteX4" fmla="*/ 1270677 w 1270677"/>
                <a:gd name="connsiteY4" fmla="*/ 64340 h 386034"/>
                <a:gd name="connsiteX5" fmla="*/ 1270677 w 1270677"/>
                <a:gd name="connsiteY5" fmla="*/ 321694 h 386034"/>
                <a:gd name="connsiteX6" fmla="*/ 1206337 w 1270677"/>
                <a:gd name="connsiteY6" fmla="*/ 386034 h 386034"/>
                <a:gd name="connsiteX7" fmla="*/ 635339 w 1270677"/>
                <a:gd name="connsiteY7" fmla="*/ 386034 h 386034"/>
                <a:gd name="connsiteX8" fmla="*/ 64340 w 1270677"/>
                <a:gd name="connsiteY8" fmla="*/ 386034 h 386034"/>
                <a:gd name="connsiteX9" fmla="*/ 0 w 1270677"/>
                <a:gd name="connsiteY9" fmla="*/ 321694 h 386034"/>
                <a:gd name="connsiteX10" fmla="*/ 0 w 1270677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0677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05104" y="-12353"/>
                    <a:pt x="404359" y="-13726"/>
                    <a:pt x="658178" y="0"/>
                  </a:cubicBezTo>
                  <a:cubicBezTo>
                    <a:pt x="911997" y="13726"/>
                    <a:pt x="1013716" y="-11684"/>
                    <a:pt x="1206337" y="0"/>
                  </a:cubicBezTo>
                  <a:cubicBezTo>
                    <a:pt x="1234352" y="-4114"/>
                    <a:pt x="1274606" y="30683"/>
                    <a:pt x="1270677" y="64340"/>
                  </a:cubicBezTo>
                  <a:cubicBezTo>
                    <a:pt x="1276931" y="162416"/>
                    <a:pt x="1279897" y="205598"/>
                    <a:pt x="1270677" y="321694"/>
                  </a:cubicBezTo>
                  <a:cubicBezTo>
                    <a:pt x="1272476" y="354301"/>
                    <a:pt x="1236545" y="390714"/>
                    <a:pt x="1206337" y="386034"/>
                  </a:cubicBezTo>
                  <a:cubicBezTo>
                    <a:pt x="1018204" y="391331"/>
                    <a:pt x="872347" y="408582"/>
                    <a:pt x="635339" y="386034"/>
                  </a:cubicBezTo>
                  <a:cubicBezTo>
                    <a:pt x="398331" y="363486"/>
                    <a:pt x="230275" y="367458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tform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4BBAE00B-5B22-3315-FC13-44FF9745CE42}"/>
                </a:ext>
              </a:extLst>
            </p:cNvPr>
            <p:cNvSpPr/>
            <p:nvPr/>
          </p:nvSpPr>
          <p:spPr>
            <a:xfrm>
              <a:off x="7532914" y="4820356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</a:t>
              </a:r>
              <a:r>
                <a:rPr lang="en-US" dirty="0" err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d</a:t>
              </a:r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3AF4BB0-878B-34E8-5660-762F56526A7D}"/>
                </a:ext>
              </a:extLst>
            </p:cNvPr>
            <p:cNvSpPr/>
            <p:nvPr/>
          </p:nvSpPr>
          <p:spPr>
            <a:xfrm>
              <a:off x="8803591" y="4834271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tg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B09B066-EBED-F2DD-F147-FF8FFF711CCA}"/>
                </a:ext>
              </a:extLst>
            </p:cNvPr>
            <p:cNvSpPr/>
            <p:nvPr/>
          </p:nvSpPr>
          <p:spPr>
            <a:xfrm>
              <a:off x="9563012" y="5308014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dev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4171CAC-B2D0-90DE-FECC-1478466DCFD4}"/>
                </a:ext>
              </a:extLst>
            </p:cNvPr>
            <p:cNvSpPr/>
            <p:nvPr/>
          </p:nvSpPr>
          <p:spPr>
            <a:xfrm>
              <a:off x="7899730" y="5308947"/>
              <a:ext cx="1546326" cy="386034"/>
            </a:xfrm>
            <a:custGeom>
              <a:avLst/>
              <a:gdLst>
                <a:gd name="connsiteX0" fmla="*/ 0 w 1546326"/>
                <a:gd name="connsiteY0" fmla="*/ 64340 h 386034"/>
                <a:gd name="connsiteX1" fmla="*/ 64340 w 1546326"/>
                <a:gd name="connsiteY1" fmla="*/ 0 h 386034"/>
                <a:gd name="connsiteX2" fmla="*/ 565242 w 1546326"/>
                <a:gd name="connsiteY2" fmla="*/ 0 h 386034"/>
                <a:gd name="connsiteX3" fmla="*/ 1023614 w 1546326"/>
                <a:gd name="connsiteY3" fmla="*/ 0 h 386034"/>
                <a:gd name="connsiteX4" fmla="*/ 1481986 w 1546326"/>
                <a:gd name="connsiteY4" fmla="*/ 0 h 386034"/>
                <a:gd name="connsiteX5" fmla="*/ 1546326 w 1546326"/>
                <a:gd name="connsiteY5" fmla="*/ 64340 h 386034"/>
                <a:gd name="connsiteX6" fmla="*/ 1546326 w 1546326"/>
                <a:gd name="connsiteY6" fmla="*/ 321694 h 386034"/>
                <a:gd name="connsiteX7" fmla="*/ 1481986 w 1546326"/>
                <a:gd name="connsiteY7" fmla="*/ 386034 h 386034"/>
                <a:gd name="connsiteX8" fmla="*/ 1037790 w 1546326"/>
                <a:gd name="connsiteY8" fmla="*/ 386034 h 386034"/>
                <a:gd name="connsiteX9" fmla="*/ 565242 w 1546326"/>
                <a:gd name="connsiteY9" fmla="*/ 386034 h 386034"/>
                <a:gd name="connsiteX10" fmla="*/ 64340 w 1546326"/>
                <a:gd name="connsiteY10" fmla="*/ 386034 h 386034"/>
                <a:gd name="connsiteX11" fmla="*/ 0 w 1546326"/>
                <a:gd name="connsiteY11" fmla="*/ 321694 h 386034"/>
                <a:gd name="connsiteX12" fmla="*/ 0 w 1546326"/>
                <a:gd name="connsiteY12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326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10500" y="24628"/>
                    <a:pt x="427639" y="-3787"/>
                    <a:pt x="565242" y="0"/>
                  </a:cubicBezTo>
                  <a:cubicBezTo>
                    <a:pt x="702845" y="3787"/>
                    <a:pt x="843780" y="18176"/>
                    <a:pt x="1023614" y="0"/>
                  </a:cubicBezTo>
                  <a:cubicBezTo>
                    <a:pt x="1203448" y="-18176"/>
                    <a:pt x="1354143" y="-15980"/>
                    <a:pt x="1481986" y="0"/>
                  </a:cubicBezTo>
                  <a:cubicBezTo>
                    <a:pt x="1515904" y="-5204"/>
                    <a:pt x="1546920" y="26606"/>
                    <a:pt x="1546326" y="64340"/>
                  </a:cubicBezTo>
                  <a:cubicBezTo>
                    <a:pt x="1554989" y="188801"/>
                    <a:pt x="1542785" y="261721"/>
                    <a:pt x="1546326" y="321694"/>
                  </a:cubicBezTo>
                  <a:cubicBezTo>
                    <a:pt x="1545677" y="351043"/>
                    <a:pt x="1515274" y="389155"/>
                    <a:pt x="1481986" y="386034"/>
                  </a:cubicBezTo>
                  <a:cubicBezTo>
                    <a:pt x="1274341" y="382391"/>
                    <a:pt x="1172771" y="404536"/>
                    <a:pt x="1037790" y="386034"/>
                  </a:cubicBezTo>
                  <a:cubicBezTo>
                    <a:pt x="902809" y="367532"/>
                    <a:pt x="680366" y="387399"/>
                    <a:pt x="565242" y="386034"/>
                  </a:cubicBezTo>
                  <a:cubicBezTo>
                    <a:pt x="450118" y="384669"/>
                    <a:pt x="302609" y="374093"/>
                    <a:pt x="64340" y="386034"/>
                  </a:cubicBezTo>
                  <a:cubicBezTo>
                    <a:pt x="31617" y="383256"/>
                    <a:pt x="7380" y="352469"/>
                    <a:pt x="0" y="321694"/>
                  </a:cubicBezTo>
                  <a:cubicBezTo>
                    <a:pt x="5004" y="229282"/>
                    <a:pt x="4162" y="187148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andbox</a:t>
              </a:r>
            </a:p>
          </p:txBody>
        </p:sp>
      </p:grpSp>
      <p:pic>
        <p:nvPicPr>
          <p:cNvPr id="23" name="Picture 2">
            <a:extLst>
              <a:ext uri="{FF2B5EF4-FFF2-40B4-BE49-F238E27FC236}">
                <a16:creationId xmlns:a16="http://schemas.microsoft.com/office/drawing/2014/main" id="{22C834B1-79D5-4332-AF84-0BE953D7A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552" y="4515637"/>
            <a:ext cx="913743" cy="913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C521153-7FDC-0D54-A1FF-E85516DABDA3}"/>
              </a:ext>
            </a:extLst>
          </p:cNvPr>
          <p:cNvSpPr/>
          <p:nvPr/>
        </p:nvSpPr>
        <p:spPr>
          <a:xfrm>
            <a:off x="564242" y="2504751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62BCA87-04BA-C41F-6A5B-30224D078CE8}"/>
              </a:ext>
            </a:extLst>
          </p:cNvPr>
          <p:cNvSpPr txBox="1"/>
          <p:nvPr/>
        </p:nvSpPr>
        <p:spPr>
          <a:xfrm>
            <a:off x="658652" y="2740279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trict User RBAC is very hard in large enterprises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387628A2-3D48-D77D-73EF-ABCFA4344C4E}"/>
              </a:ext>
            </a:extLst>
          </p:cNvPr>
          <p:cNvSpPr/>
          <p:nvPr/>
        </p:nvSpPr>
        <p:spPr>
          <a:xfrm>
            <a:off x="564242" y="4417383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F482F7-F404-DFE7-B637-FCB83793F8BD}"/>
              </a:ext>
            </a:extLst>
          </p:cNvPr>
          <p:cNvSpPr txBox="1"/>
          <p:nvPr/>
        </p:nvSpPr>
        <p:spPr>
          <a:xfrm>
            <a:off x="2878106" y="5397614"/>
            <a:ext cx="1516762" cy="369332"/>
          </a:xfrm>
          <a:custGeom>
            <a:avLst/>
            <a:gdLst>
              <a:gd name="connsiteX0" fmla="*/ 0 w 1516762"/>
              <a:gd name="connsiteY0" fmla="*/ 0 h 369332"/>
              <a:gd name="connsiteX1" fmla="*/ 490420 w 1516762"/>
              <a:gd name="connsiteY1" fmla="*/ 0 h 369332"/>
              <a:gd name="connsiteX2" fmla="*/ 950504 w 1516762"/>
              <a:gd name="connsiteY2" fmla="*/ 0 h 369332"/>
              <a:gd name="connsiteX3" fmla="*/ 1516762 w 1516762"/>
              <a:gd name="connsiteY3" fmla="*/ 0 h 369332"/>
              <a:gd name="connsiteX4" fmla="*/ 1516762 w 1516762"/>
              <a:gd name="connsiteY4" fmla="*/ 369332 h 369332"/>
              <a:gd name="connsiteX5" fmla="*/ 1041510 w 1516762"/>
              <a:gd name="connsiteY5" fmla="*/ 369332 h 369332"/>
              <a:gd name="connsiteX6" fmla="*/ 505587 w 1516762"/>
              <a:gd name="connsiteY6" fmla="*/ 369332 h 369332"/>
              <a:gd name="connsiteX7" fmla="*/ 0 w 1516762"/>
              <a:gd name="connsiteY7" fmla="*/ 369332 h 369332"/>
              <a:gd name="connsiteX8" fmla="*/ 0 w 151676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16762" h="369332" extrusionOk="0">
                <a:moveTo>
                  <a:pt x="0" y="0"/>
                </a:moveTo>
                <a:cubicBezTo>
                  <a:pt x="209769" y="-41365"/>
                  <a:pt x="341349" y="8781"/>
                  <a:pt x="490420" y="0"/>
                </a:cubicBezTo>
                <a:cubicBezTo>
                  <a:pt x="639491" y="-8781"/>
                  <a:pt x="756427" y="27278"/>
                  <a:pt x="950504" y="0"/>
                </a:cubicBezTo>
                <a:cubicBezTo>
                  <a:pt x="1144581" y="-27278"/>
                  <a:pt x="1344649" y="62508"/>
                  <a:pt x="1516762" y="0"/>
                </a:cubicBezTo>
                <a:cubicBezTo>
                  <a:pt x="1552350" y="113493"/>
                  <a:pt x="1489955" y="197069"/>
                  <a:pt x="1516762" y="369332"/>
                </a:cubicBezTo>
                <a:cubicBezTo>
                  <a:pt x="1357875" y="419827"/>
                  <a:pt x="1249273" y="346156"/>
                  <a:pt x="1041510" y="369332"/>
                </a:cubicBezTo>
                <a:cubicBezTo>
                  <a:pt x="833747" y="392508"/>
                  <a:pt x="685626" y="339860"/>
                  <a:pt x="505587" y="369332"/>
                </a:cubicBezTo>
                <a:cubicBezTo>
                  <a:pt x="325548" y="398804"/>
                  <a:pt x="135452" y="31407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ipelines/AP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A3C9098-CF9B-E8E3-71FE-866D524E7537}"/>
              </a:ext>
            </a:extLst>
          </p:cNvPr>
          <p:cNvSpPr txBox="1"/>
          <p:nvPr/>
        </p:nvSpPr>
        <p:spPr>
          <a:xfrm>
            <a:off x="653484" y="4570283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Use Template Specs instead of Bicep Registry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F9B71AEC-FD4A-C5B5-0F84-BD1F558E2D7B}"/>
              </a:ext>
            </a:extLst>
          </p:cNvPr>
          <p:cNvSpPr/>
          <p:nvPr/>
        </p:nvSpPr>
        <p:spPr>
          <a:xfrm rot="2001823" flipV="1">
            <a:off x="4516009" y="4265745"/>
            <a:ext cx="1092674" cy="299469"/>
          </a:xfrm>
          <a:custGeom>
            <a:avLst/>
            <a:gdLst>
              <a:gd name="connsiteX0" fmla="*/ 0 w 1092674"/>
              <a:gd name="connsiteY0" fmla="*/ 74867 h 299469"/>
              <a:gd name="connsiteX1" fmla="*/ 480899 w 1092674"/>
              <a:gd name="connsiteY1" fmla="*/ 74867 h 299469"/>
              <a:gd name="connsiteX2" fmla="*/ 942940 w 1092674"/>
              <a:gd name="connsiteY2" fmla="*/ 74867 h 299469"/>
              <a:gd name="connsiteX3" fmla="*/ 942940 w 1092674"/>
              <a:gd name="connsiteY3" fmla="*/ 0 h 299469"/>
              <a:gd name="connsiteX4" fmla="*/ 1092674 w 1092674"/>
              <a:gd name="connsiteY4" fmla="*/ 149735 h 299469"/>
              <a:gd name="connsiteX5" fmla="*/ 942940 w 1092674"/>
              <a:gd name="connsiteY5" fmla="*/ 299469 h 299469"/>
              <a:gd name="connsiteX6" fmla="*/ 942940 w 1092674"/>
              <a:gd name="connsiteY6" fmla="*/ 224602 h 299469"/>
              <a:gd name="connsiteX7" fmla="*/ 471470 w 1092674"/>
              <a:gd name="connsiteY7" fmla="*/ 224602 h 299469"/>
              <a:gd name="connsiteX8" fmla="*/ 0 w 1092674"/>
              <a:gd name="connsiteY8" fmla="*/ 224602 h 299469"/>
              <a:gd name="connsiteX9" fmla="*/ 0 w 1092674"/>
              <a:gd name="connsiteY9" fmla="*/ 74867 h 299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2674" h="299469" fill="none" extrusionOk="0">
                <a:moveTo>
                  <a:pt x="0" y="74867"/>
                </a:moveTo>
                <a:cubicBezTo>
                  <a:pt x="216265" y="59847"/>
                  <a:pt x="322152" y="70174"/>
                  <a:pt x="480899" y="74867"/>
                </a:cubicBezTo>
                <a:cubicBezTo>
                  <a:pt x="639646" y="79560"/>
                  <a:pt x="815220" y="93676"/>
                  <a:pt x="942940" y="74867"/>
                </a:cubicBezTo>
                <a:cubicBezTo>
                  <a:pt x="939933" y="43903"/>
                  <a:pt x="940998" y="18180"/>
                  <a:pt x="942940" y="0"/>
                </a:cubicBezTo>
                <a:cubicBezTo>
                  <a:pt x="991485" y="42430"/>
                  <a:pt x="1018307" y="89626"/>
                  <a:pt x="1092674" y="149735"/>
                </a:cubicBezTo>
                <a:cubicBezTo>
                  <a:pt x="1034273" y="221326"/>
                  <a:pt x="1022141" y="233324"/>
                  <a:pt x="942940" y="299469"/>
                </a:cubicBezTo>
                <a:cubicBezTo>
                  <a:pt x="939895" y="264632"/>
                  <a:pt x="941389" y="257076"/>
                  <a:pt x="942940" y="224602"/>
                </a:cubicBezTo>
                <a:cubicBezTo>
                  <a:pt x="770704" y="233480"/>
                  <a:pt x="630420" y="206377"/>
                  <a:pt x="471470" y="224602"/>
                </a:cubicBezTo>
                <a:cubicBezTo>
                  <a:pt x="312520" y="242828"/>
                  <a:pt x="100606" y="216316"/>
                  <a:pt x="0" y="224602"/>
                </a:cubicBezTo>
                <a:cubicBezTo>
                  <a:pt x="2679" y="160280"/>
                  <a:pt x="-5251" y="117299"/>
                  <a:pt x="0" y="74867"/>
                </a:cubicBezTo>
                <a:close/>
              </a:path>
              <a:path w="1092674" h="299469" stroke="0" extrusionOk="0">
                <a:moveTo>
                  <a:pt x="0" y="74867"/>
                </a:moveTo>
                <a:cubicBezTo>
                  <a:pt x="182740" y="66323"/>
                  <a:pt x="266755" y="70824"/>
                  <a:pt x="462041" y="74867"/>
                </a:cubicBezTo>
                <a:cubicBezTo>
                  <a:pt x="657327" y="78910"/>
                  <a:pt x="776283" y="91304"/>
                  <a:pt x="942940" y="74867"/>
                </a:cubicBezTo>
                <a:cubicBezTo>
                  <a:pt x="943202" y="45997"/>
                  <a:pt x="942659" y="23814"/>
                  <a:pt x="942940" y="0"/>
                </a:cubicBezTo>
                <a:cubicBezTo>
                  <a:pt x="1001946" y="61146"/>
                  <a:pt x="1027275" y="94736"/>
                  <a:pt x="1092674" y="149735"/>
                </a:cubicBezTo>
                <a:cubicBezTo>
                  <a:pt x="1066059" y="190945"/>
                  <a:pt x="998770" y="250841"/>
                  <a:pt x="942940" y="299469"/>
                </a:cubicBezTo>
                <a:cubicBezTo>
                  <a:pt x="941148" y="275136"/>
                  <a:pt x="944278" y="253873"/>
                  <a:pt x="942940" y="224602"/>
                </a:cubicBezTo>
                <a:cubicBezTo>
                  <a:pt x="818727" y="229173"/>
                  <a:pt x="597068" y="240046"/>
                  <a:pt x="490329" y="224602"/>
                </a:cubicBezTo>
                <a:cubicBezTo>
                  <a:pt x="383590" y="209158"/>
                  <a:pt x="166327" y="217763"/>
                  <a:pt x="0" y="224602"/>
                </a:cubicBezTo>
                <a:cubicBezTo>
                  <a:pt x="-5217" y="188683"/>
                  <a:pt x="-3688" y="113779"/>
                  <a:pt x="0" y="74867"/>
                </a:cubicBezTo>
                <a:close/>
              </a:path>
            </a:pathLst>
          </a:custGeom>
          <a:solidFill>
            <a:srgbClr val="FFC000"/>
          </a:solidFill>
          <a:ln w="25400">
            <a:solidFill>
              <a:srgbClr val="FFD10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5DA7973-71C2-F666-C2C9-AF04021A2428}"/>
              </a:ext>
            </a:extLst>
          </p:cNvPr>
          <p:cNvSpPr/>
          <p:nvPr/>
        </p:nvSpPr>
        <p:spPr>
          <a:xfrm rot="20591741" flipV="1">
            <a:off x="4557014" y="5211065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rgbClr val="2C7CC4"/>
          </a:solidFill>
          <a:ln w="25400">
            <a:solidFill>
              <a:srgbClr val="2C7CC4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FEC3E27B-2463-93F4-1768-261453C1B051}"/>
              </a:ext>
            </a:extLst>
          </p:cNvPr>
          <p:cNvSpPr/>
          <p:nvPr/>
        </p:nvSpPr>
        <p:spPr>
          <a:xfrm rot="908097" flipV="1">
            <a:off x="7852585" y="4260714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4FCBF0-674E-F049-4E74-124DFC4D51DE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25" name="Rectángulo redondeado 14">
              <a:extLst>
                <a:ext uri="{FF2B5EF4-FFF2-40B4-BE49-F238E27FC236}">
                  <a16:creationId xmlns:a16="http://schemas.microsoft.com/office/drawing/2014/main" id="{204FDE83-D1DD-A636-1171-76EC1B1C63DB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Rectángulo 12">
              <a:extLst>
                <a:ext uri="{FF2B5EF4-FFF2-40B4-BE49-F238E27FC236}">
                  <a16:creationId xmlns:a16="http://schemas.microsoft.com/office/drawing/2014/main" id="{A9B4BD47-ABBD-0F92-370C-8CC242548EF1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everyw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22218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792687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at does that means? – Something developed in dev/sandbox has a high change to work in stg and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prd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7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3103689" y="2552293"/>
            <a:ext cx="1291179" cy="1287835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2986206" y="3717144"/>
            <a:ext cx="1397819" cy="369332"/>
          </a:xfrm>
          <a:custGeom>
            <a:avLst/>
            <a:gdLst>
              <a:gd name="connsiteX0" fmla="*/ 0 w 1397819"/>
              <a:gd name="connsiteY0" fmla="*/ 0 h 369332"/>
              <a:gd name="connsiteX1" fmla="*/ 451961 w 1397819"/>
              <a:gd name="connsiteY1" fmla="*/ 0 h 369332"/>
              <a:gd name="connsiteX2" fmla="*/ 875967 w 1397819"/>
              <a:gd name="connsiteY2" fmla="*/ 0 h 369332"/>
              <a:gd name="connsiteX3" fmla="*/ 1397819 w 1397819"/>
              <a:gd name="connsiteY3" fmla="*/ 0 h 369332"/>
              <a:gd name="connsiteX4" fmla="*/ 1397819 w 1397819"/>
              <a:gd name="connsiteY4" fmla="*/ 369332 h 369332"/>
              <a:gd name="connsiteX5" fmla="*/ 959836 w 1397819"/>
              <a:gd name="connsiteY5" fmla="*/ 369332 h 369332"/>
              <a:gd name="connsiteX6" fmla="*/ 465940 w 1397819"/>
              <a:gd name="connsiteY6" fmla="*/ 369332 h 369332"/>
              <a:gd name="connsiteX7" fmla="*/ 0 w 1397819"/>
              <a:gd name="connsiteY7" fmla="*/ 369332 h 369332"/>
              <a:gd name="connsiteX8" fmla="*/ 0 w 1397819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7819" h="369332" extrusionOk="0">
                <a:moveTo>
                  <a:pt x="0" y="0"/>
                </a:moveTo>
                <a:cubicBezTo>
                  <a:pt x="146299" y="-19519"/>
                  <a:pt x="313697" y="14352"/>
                  <a:pt x="451961" y="0"/>
                </a:cubicBezTo>
                <a:cubicBezTo>
                  <a:pt x="590225" y="-14352"/>
                  <a:pt x="723451" y="12726"/>
                  <a:pt x="875967" y="0"/>
                </a:cubicBezTo>
                <a:cubicBezTo>
                  <a:pt x="1028483" y="-12726"/>
                  <a:pt x="1198415" y="20924"/>
                  <a:pt x="1397819" y="0"/>
                </a:cubicBezTo>
                <a:cubicBezTo>
                  <a:pt x="1433407" y="113493"/>
                  <a:pt x="1371012" y="197069"/>
                  <a:pt x="1397819" y="369332"/>
                </a:cubicBezTo>
                <a:cubicBezTo>
                  <a:pt x="1188541" y="417934"/>
                  <a:pt x="1124288" y="367419"/>
                  <a:pt x="959836" y="369332"/>
                </a:cubicBezTo>
                <a:cubicBezTo>
                  <a:pt x="795384" y="371245"/>
                  <a:pt x="697215" y="321315"/>
                  <a:pt x="465940" y="369332"/>
                </a:cubicBezTo>
                <a:cubicBezTo>
                  <a:pt x="234665" y="417349"/>
                  <a:pt x="137017" y="34447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ortal User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4C819CB-44CB-D33A-9824-A4E4EB4E3B08}"/>
              </a:ext>
            </a:extLst>
          </p:cNvPr>
          <p:cNvGrpSpPr/>
          <p:nvPr/>
        </p:nvGrpSpPr>
        <p:grpSpPr>
          <a:xfrm>
            <a:off x="5300020" y="2937559"/>
            <a:ext cx="2397874" cy="2733316"/>
            <a:chOff x="4187983" y="2655114"/>
            <a:chExt cx="2397874" cy="2733316"/>
          </a:xfrm>
        </p:grpSpPr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C2FC9430-89FA-B6F5-FF73-09BF4CD95552}"/>
                </a:ext>
              </a:extLst>
            </p:cNvPr>
            <p:cNvSpPr txBox="1">
              <a:spLocks/>
            </p:cNvSpPr>
            <p:nvPr/>
          </p:nvSpPr>
          <p:spPr>
            <a:xfrm>
              <a:off x="4398363" y="4349404"/>
              <a:ext cx="2053029" cy="856986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ui.json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bicep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24EF291-C501-D101-0029-071EE9043CF4}"/>
                </a:ext>
              </a:extLst>
            </p:cNvPr>
            <p:cNvSpPr/>
            <p:nvPr/>
          </p:nvSpPr>
          <p:spPr>
            <a:xfrm>
              <a:off x="4187983" y="2655114"/>
              <a:ext cx="2397874" cy="2733316"/>
            </a:xfrm>
            <a:custGeom>
              <a:avLst/>
              <a:gdLst>
                <a:gd name="connsiteX0" fmla="*/ 0 w 2397874"/>
                <a:gd name="connsiteY0" fmla="*/ 399654 h 2733316"/>
                <a:gd name="connsiteX1" fmla="*/ 399654 w 2397874"/>
                <a:gd name="connsiteY1" fmla="*/ 0 h 2733316"/>
                <a:gd name="connsiteX2" fmla="*/ 964481 w 2397874"/>
                <a:gd name="connsiteY2" fmla="*/ 0 h 2733316"/>
                <a:gd name="connsiteX3" fmla="*/ 1481350 w 2397874"/>
                <a:gd name="connsiteY3" fmla="*/ 0 h 2733316"/>
                <a:gd name="connsiteX4" fmla="*/ 1998220 w 2397874"/>
                <a:gd name="connsiteY4" fmla="*/ 0 h 2733316"/>
                <a:gd name="connsiteX5" fmla="*/ 2397874 w 2397874"/>
                <a:gd name="connsiteY5" fmla="*/ 399654 h 2733316"/>
                <a:gd name="connsiteX6" fmla="*/ 2397874 w 2397874"/>
                <a:gd name="connsiteY6" fmla="*/ 844476 h 2733316"/>
                <a:gd name="connsiteX7" fmla="*/ 2397874 w 2397874"/>
                <a:gd name="connsiteY7" fmla="*/ 1289298 h 2733316"/>
                <a:gd name="connsiteX8" fmla="*/ 2397874 w 2397874"/>
                <a:gd name="connsiteY8" fmla="*/ 1811480 h 2733316"/>
                <a:gd name="connsiteX9" fmla="*/ 2397874 w 2397874"/>
                <a:gd name="connsiteY9" fmla="*/ 2333662 h 2733316"/>
                <a:gd name="connsiteX10" fmla="*/ 1998220 w 2397874"/>
                <a:gd name="connsiteY10" fmla="*/ 2733316 h 2733316"/>
                <a:gd name="connsiteX11" fmla="*/ 1449379 w 2397874"/>
                <a:gd name="connsiteY11" fmla="*/ 2733316 h 2733316"/>
                <a:gd name="connsiteX12" fmla="*/ 884552 w 2397874"/>
                <a:gd name="connsiteY12" fmla="*/ 2733316 h 2733316"/>
                <a:gd name="connsiteX13" fmla="*/ 399654 w 2397874"/>
                <a:gd name="connsiteY13" fmla="*/ 2733316 h 2733316"/>
                <a:gd name="connsiteX14" fmla="*/ 0 w 2397874"/>
                <a:gd name="connsiteY14" fmla="*/ 2333662 h 2733316"/>
                <a:gd name="connsiteX15" fmla="*/ 0 w 2397874"/>
                <a:gd name="connsiteY15" fmla="*/ 1830820 h 2733316"/>
                <a:gd name="connsiteX16" fmla="*/ 0 w 2397874"/>
                <a:gd name="connsiteY16" fmla="*/ 1347318 h 2733316"/>
                <a:gd name="connsiteX17" fmla="*/ 0 w 2397874"/>
                <a:gd name="connsiteY17" fmla="*/ 921836 h 2733316"/>
                <a:gd name="connsiteX18" fmla="*/ 0 w 2397874"/>
                <a:gd name="connsiteY18" fmla="*/ 399654 h 273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7874" h="2733316" extrusionOk="0">
                  <a:moveTo>
                    <a:pt x="0" y="399654"/>
                  </a:moveTo>
                  <a:cubicBezTo>
                    <a:pt x="-10482" y="172466"/>
                    <a:pt x="152588" y="9887"/>
                    <a:pt x="399654" y="0"/>
                  </a:cubicBezTo>
                  <a:cubicBezTo>
                    <a:pt x="540667" y="-11066"/>
                    <a:pt x="695052" y="22642"/>
                    <a:pt x="964481" y="0"/>
                  </a:cubicBezTo>
                  <a:cubicBezTo>
                    <a:pt x="1233910" y="-22642"/>
                    <a:pt x="1262477" y="1226"/>
                    <a:pt x="1481350" y="0"/>
                  </a:cubicBezTo>
                  <a:cubicBezTo>
                    <a:pt x="1700223" y="-1226"/>
                    <a:pt x="1885382" y="38571"/>
                    <a:pt x="1998220" y="0"/>
                  </a:cubicBezTo>
                  <a:cubicBezTo>
                    <a:pt x="2208875" y="-32428"/>
                    <a:pt x="2403850" y="156817"/>
                    <a:pt x="2397874" y="399654"/>
                  </a:cubicBezTo>
                  <a:cubicBezTo>
                    <a:pt x="2451140" y="558425"/>
                    <a:pt x="2388997" y="726433"/>
                    <a:pt x="2397874" y="844476"/>
                  </a:cubicBezTo>
                  <a:cubicBezTo>
                    <a:pt x="2406751" y="962519"/>
                    <a:pt x="2384850" y="1113238"/>
                    <a:pt x="2397874" y="1289298"/>
                  </a:cubicBezTo>
                  <a:cubicBezTo>
                    <a:pt x="2410898" y="1465358"/>
                    <a:pt x="2368204" y="1643424"/>
                    <a:pt x="2397874" y="1811480"/>
                  </a:cubicBezTo>
                  <a:cubicBezTo>
                    <a:pt x="2427544" y="1979536"/>
                    <a:pt x="2355214" y="2219126"/>
                    <a:pt x="2397874" y="2333662"/>
                  </a:cubicBezTo>
                  <a:cubicBezTo>
                    <a:pt x="2391322" y="2554010"/>
                    <a:pt x="2223980" y="2719503"/>
                    <a:pt x="1998220" y="2733316"/>
                  </a:cubicBezTo>
                  <a:cubicBezTo>
                    <a:pt x="1778184" y="2765386"/>
                    <a:pt x="1564337" y="2673273"/>
                    <a:pt x="1449379" y="2733316"/>
                  </a:cubicBezTo>
                  <a:cubicBezTo>
                    <a:pt x="1334421" y="2793359"/>
                    <a:pt x="1041443" y="2685170"/>
                    <a:pt x="884552" y="2733316"/>
                  </a:cubicBezTo>
                  <a:cubicBezTo>
                    <a:pt x="727661" y="2781462"/>
                    <a:pt x="548119" y="2732036"/>
                    <a:pt x="399654" y="2733316"/>
                  </a:cubicBezTo>
                  <a:cubicBezTo>
                    <a:pt x="128869" y="2741537"/>
                    <a:pt x="-27707" y="2535268"/>
                    <a:pt x="0" y="2333662"/>
                  </a:cubicBezTo>
                  <a:cubicBezTo>
                    <a:pt x="-46360" y="2218243"/>
                    <a:pt x="59734" y="2029316"/>
                    <a:pt x="0" y="1830820"/>
                  </a:cubicBezTo>
                  <a:cubicBezTo>
                    <a:pt x="-59734" y="1632324"/>
                    <a:pt x="6734" y="1552325"/>
                    <a:pt x="0" y="1347318"/>
                  </a:cubicBezTo>
                  <a:cubicBezTo>
                    <a:pt x="-6734" y="1142311"/>
                    <a:pt x="44272" y="1098623"/>
                    <a:pt x="0" y="921836"/>
                  </a:cubicBezTo>
                  <a:cubicBezTo>
                    <a:pt x="-44272" y="745049"/>
                    <a:pt x="59653" y="639142"/>
                    <a:pt x="0" y="399654"/>
                  </a:cubicBezTo>
                  <a:close/>
                </a:path>
              </a:pathLst>
            </a:custGeom>
            <a:noFill/>
            <a:ln w="25400"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35B091D-0AC3-8352-5FC4-534BEEAB9F6D}"/>
                </a:ext>
              </a:extLst>
            </p:cNvPr>
            <p:cNvGrpSpPr/>
            <p:nvPr/>
          </p:nvGrpSpPr>
          <p:grpSpPr>
            <a:xfrm>
              <a:off x="4821882" y="2814862"/>
              <a:ext cx="1205990" cy="1353021"/>
              <a:chOff x="6618867" y="3226748"/>
              <a:chExt cx="1025861" cy="1089287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B4128EE-DA62-3C7D-8014-A881FECF1B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68572" y="3226748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3B3078C3-8143-909C-2BEE-0B8CD50B3D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58686" y="3315374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36C88CD1-5045-3A5E-AD25-30704E22BD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18867" y="3429000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F126B8A-93B9-D2F9-F159-4B8D2A75B3DD}"/>
              </a:ext>
            </a:extLst>
          </p:cNvPr>
          <p:cNvGrpSpPr/>
          <p:nvPr/>
        </p:nvGrpSpPr>
        <p:grpSpPr>
          <a:xfrm>
            <a:off x="8235766" y="2552293"/>
            <a:ext cx="3226438" cy="3168521"/>
            <a:chOff x="7532914" y="2526460"/>
            <a:chExt cx="3226438" cy="3168521"/>
          </a:xfrm>
        </p:grpSpPr>
        <p:pic>
          <p:nvPicPr>
            <p:cNvPr id="15" name="Picture 14" descr="A blue letter a made of toy building blocks&#10;&#10;Description automatically generated">
              <a:extLst>
                <a:ext uri="{FF2B5EF4-FFF2-40B4-BE49-F238E27FC236}">
                  <a16:creationId xmlns:a16="http://schemas.microsoft.com/office/drawing/2014/main" id="{FCC4914A-A8C0-9BC5-4089-27074B66A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7925" y="2526460"/>
              <a:ext cx="1963754" cy="1963754"/>
            </a:xfrm>
            <a:prstGeom prst="rect">
              <a:avLst/>
            </a:prstGeom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804B82E-E9C1-DD3E-AEBA-9A64F4356BD5}"/>
                </a:ext>
              </a:extLst>
            </p:cNvPr>
            <p:cNvSpPr/>
            <p:nvPr/>
          </p:nvSpPr>
          <p:spPr>
            <a:xfrm>
              <a:off x="8729254" y="4337825"/>
              <a:ext cx="1270677" cy="386034"/>
            </a:xfrm>
            <a:custGeom>
              <a:avLst/>
              <a:gdLst>
                <a:gd name="connsiteX0" fmla="*/ 0 w 1270677"/>
                <a:gd name="connsiteY0" fmla="*/ 64340 h 386034"/>
                <a:gd name="connsiteX1" fmla="*/ 64340 w 1270677"/>
                <a:gd name="connsiteY1" fmla="*/ 0 h 386034"/>
                <a:gd name="connsiteX2" fmla="*/ 658178 w 1270677"/>
                <a:gd name="connsiteY2" fmla="*/ 0 h 386034"/>
                <a:gd name="connsiteX3" fmla="*/ 1206337 w 1270677"/>
                <a:gd name="connsiteY3" fmla="*/ 0 h 386034"/>
                <a:gd name="connsiteX4" fmla="*/ 1270677 w 1270677"/>
                <a:gd name="connsiteY4" fmla="*/ 64340 h 386034"/>
                <a:gd name="connsiteX5" fmla="*/ 1270677 w 1270677"/>
                <a:gd name="connsiteY5" fmla="*/ 321694 h 386034"/>
                <a:gd name="connsiteX6" fmla="*/ 1206337 w 1270677"/>
                <a:gd name="connsiteY6" fmla="*/ 386034 h 386034"/>
                <a:gd name="connsiteX7" fmla="*/ 635339 w 1270677"/>
                <a:gd name="connsiteY7" fmla="*/ 386034 h 386034"/>
                <a:gd name="connsiteX8" fmla="*/ 64340 w 1270677"/>
                <a:gd name="connsiteY8" fmla="*/ 386034 h 386034"/>
                <a:gd name="connsiteX9" fmla="*/ 0 w 1270677"/>
                <a:gd name="connsiteY9" fmla="*/ 321694 h 386034"/>
                <a:gd name="connsiteX10" fmla="*/ 0 w 1270677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0677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05104" y="-12353"/>
                    <a:pt x="404359" y="-13726"/>
                    <a:pt x="658178" y="0"/>
                  </a:cubicBezTo>
                  <a:cubicBezTo>
                    <a:pt x="911997" y="13726"/>
                    <a:pt x="1013716" y="-11684"/>
                    <a:pt x="1206337" y="0"/>
                  </a:cubicBezTo>
                  <a:cubicBezTo>
                    <a:pt x="1234352" y="-4114"/>
                    <a:pt x="1274606" y="30683"/>
                    <a:pt x="1270677" y="64340"/>
                  </a:cubicBezTo>
                  <a:cubicBezTo>
                    <a:pt x="1276931" y="162416"/>
                    <a:pt x="1279897" y="205598"/>
                    <a:pt x="1270677" y="321694"/>
                  </a:cubicBezTo>
                  <a:cubicBezTo>
                    <a:pt x="1272476" y="354301"/>
                    <a:pt x="1236545" y="390714"/>
                    <a:pt x="1206337" y="386034"/>
                  </a:cubicBezTo>
                  <a:cubicBezTo>
                    <a:pt x="1018204" y="391331"/>
                    <a:pt x="872347" y="408582"/>
                    <a:pt x="635339" y="386034"/>
                  </a:cubicBezTo>
                  <a:cubicBezTo>
                    <a:pt x="398331" y="363486"/>
                    <a:pt x="230275" y="367458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tform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4BBAE00B-5B22-3315-FC13-44FF9745CE42}"/>
                </a:ext>
              </a:extLst>
            </p:cNvPr>
            <p:cNvSpPr/>
            <p:nvPr/>
          </p:nvSpPr>
          <p:spPr>
            <a:xfrm>
              <a:off x="7532914" y="4820356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</a:t>
              </a:r>
              <a:r>
                <a:rPr lang="en-US" dirty="0" err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d</a:t>
              </a:r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3AF4BB0-878B-34E8-5660-762F56526A7D}"/>
                </a:ext>
              </a:extLst>
            </p:cNvPr>
            <p:cNvSpPr/>
            <p:nvPr/>
          </p:nvSpPr>
          <p:spPr>
            <a:xfrm>
              <a:off x="8803591" y="4834271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tg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B09B066-EBED-F2DD-F147-FF8FFF711CCA}"/>
                </a:ext>
              </a:extLst>
            </p:cNvPr>
            <p:cNvSpPr/>
            <p:nvPr/>
          </p:nvSpPr>
          <p:spPr>
            <a:xfrm>
              <a:off x="9563012" y="5308014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dev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4171CAC-B2D0-90DE-FECC-1478466DCFD4}"/>
                </a:ext>
              </a:extLst>
            </p:cNvPr>
            <p:cNvSpPr/>
            <p:nvPr/>
          </p:nvSpPr>
          <p:spPr>
            <a:xfrm>
              <a:off x="7899730" y="5308947"/>
              <a:ext cx="1546326" cy="386034"/>
            </a:xfrm>
            <a:custGeom>
              <a:avLst/>
              <a:gdLst>
                <a:gd name="connsiteX0" fmla="*/ 0 w 1546326"/>
                <a:gd name="connsiteY0" fmla="*/ 64340 h 386034"/>
                <a:gd name="connsiteX1" fmla="*/ 64340 w 1546326"/>
                <a:gd name="connsiteY1" fmla="*/ 0 h 386034"/>
                <a:gd name="connsiteX2" fmla="*/ 565242 w 1546326"/>
                <a:gd name="connsiteY2" fmla="*/ 0 h 386034"/>
                <a:gd name="connsiteX3" fmla="*/ 1023614 w 1546326"/>
                <a:gd name="connsiteY3" fmla="*/ 0 h 386034"/>
                <a:gd name="connsiteX4" fmla="*/ 1481986 w 1546326"/>
                <a:gd name="connsiteY4" fmla="*/ 0 h 386034"/>
                <a:gd name="connsiteX5" fmla="*/ 1546326 w 1546326"/>
                <a:gd name="connsiteY5" fmla="*/ 64340 h 386034"/>
                <a:gd name="connsiteX6" fmla="*/ 1546326 w 1546326"/>
                <a:gd name="connsiteY6" fmla="*/ 321694 h 386034"/>
                <a:gd name="connsiteX7" fmla="*/ 1481986 w 1546326"/>
                <a:gd name="connsiteY7" fmla="*/ 386034 h 386034"/>
                <a:gd name="connsiteX8" fmla="*/ 1037790 w 1546326"/>
                <a:gd name="connsiteY8" fmla="*/ 386034 h 386034"/>
                <a:gd name="connsiteX9" fmla="*/ 565242 w 1546326"/>
                <a:gd name="connsiteY9" fmla="*/ 386034 h 386034"/>
                <a:gd name="connsiteX10" fmla="*/ 64340 w 1546326"/>
                <a:gd name="connsiteY10" fmla="*/ 386034 h 386034"/>
                <a:gd name="connsiteX11" fmla="*/ 0 w 1546326"/>
                <a:gd name="connsiteY11" fmla="*/ 321694 h 386034"/>
                <a:gd name="connsiteX12" fmla="*/ 0 w 1546326"/>
                <a:gd name="connsiteY12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326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10500" y="24628"/>
                    <a:pt x="427639" y="-3787"/>
                    <a:pt x="565242" y="0"/>
                  </a:cubicBezTo>
                  <a:cubicBezTo>
                    <a:pt x="702845" y="3787"/>
                    <a:pt x="843780" y="18176"/>
                    <a:pt x="1023614" y="0"/>
                  </a:cubicBezTo>
                  <a:cubicBezTo>
                    <a:pt x="1203448" y="-18176"/>
                    <a:pt x="1354143" y="-15980"/>
                    <a:pt x="1481986" y="0"/>
                  </a:cubicBezTo>
                  <a:cubicBezTo>
                    <a:pt x="1515904" y="-5204"/>
                    <a:pt x="1546920" y="26606"/>
                    <a:pt x="1546326" y="64340"/>
                  </a:cubicBezTo>
                  <a:cubicBezTo>
                    <a:pt x="1554989" y="188801"/>
                    <a:pt x="1542785" y="261721"/>
                    <a:pt x="1546326" y="321694"/>
                  </a:cubicBezTo>
                  <a:cubicBezTo>
                    <a:pt x="1545677" y="351043"/>
                    <a:pt x="1515274" y="389155"/>
                    <a:pt x="1481986" y="386034"/>
                  </a:cubicBezTo>
                  <a:cubicBezTo>
                    <a:pt x="1274341" y="382391"/>
                    <a:pt x="1172771" y="404536"/>
                    <a:pt x="1037790" y="386034"/>
                  </a:cubicBezTo>
                  <a:cubicBezTo>
                    <a:pt x="902809" y="367532"/>
                    <a:pt x="680366" y="387399"/>
                    <a:pt x="565242" y="386034"/>
                  </a:cubicBezTo>
                  <a:cubicBezTo>
                    <a:pt x="450118" y="384669"/>
                    <a:pt x="302609" y="374093"/>
                    <a:pt x="64340" y="386034"/>
                  </a:cubicBezTo>
                  <a:cubicBezTo>
                    <a:pt x="31617" y="383256"/>
                    <a:pt x="7380" y="352469"/>
                    <a:pt x="0" y="321694"/>
                  </a:cubicBezTo>
                  <a:cubicBezTo>
                    <a:pt x="5004" y="229282"/>
                    <a:pt x="4162" y="187148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andbox</a:t>
              </a:r>
            </a:p>
          </p:txBody>
        </p:sp>
      </p:grpSp>
      <p:pic>
        <p:nvPicPr>
          <p:cNvPr id="23" name="Picture 2">
            <a:extLst>
              <a:ext uri="{FF2B5EF4-FFF2-40B4-BE49-F238E27FC236}">
                <a16:creationId xmlns:a16="http://schemas.microsoft.com/office/drawing/2014/main" id="{22C834B1-79D5-4332-AF84-0BE953D7A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552" y="4515637"/>
            <a:ext cx="913743" cy="913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C521153-7FDC-0D54-A1FF-E85516DABDA3}"/>
              </a:ext>
            </a:extLst>
          </p:cNvPr>
          <p:cNvSpPr/>
          <p:nvPr/>
        </p:nvSpPr>
        <p:spPr>
          <a:xfrm>
            <a:off x="564242" y="2504751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62BCA87-04BA-C41F-6A5B-30224D078CE8}"/>
              </a:ext>
            </a:extLst>
          </p:cNvPr>
          <p:cNvSpPr txBox="1"/>
          <p:nvPr/>
        </p:nvSpPr>
        <p:spPr>
          <a:xfrm>
            <a:off x="658652" y="2740279"/>
            <a:ext cx="231585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Relaxed RBAC even in large enterprises non prod environments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387628A2-3D48-D77D-73EF-ABCFA4344C4E}"/>
              </a:ext>
            </a:extLst>
          </p:cNvPr>
          <p:cNvSpPr/>
          <p:nvPr/>
        </p:nvSpPr>
        <p:spPr>
          <a:xfrm>
            <a:off x="564242" y="4417383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F482F7-F404-DFE7-B637-FCB83793F8BD}"/>
              </a:ext>
            </a:extLst>
          </p:cNvPr>
          <p:cNvSpPr txBox="1"/>
          <p:nvPr/>
        </p:nvSpPr>
        <p:spPr>
          <a:xfrm>
            <a:off x="2878990" y="5376464"/>
            <a:ext cx="1516762" cy="369332"/>
          </a:xfrm>
          <a:custGeom>
            <a:avLst/>
            <a:gdLst>
              <a:gd name="connsiteX0" fmla="*/ 0 w 1516762"/>
              <a:gd name="connsiteY0" fmla="*/ 0 h 369332"/>
              <a:gd name="connsiteX1" fmla="*/ 490420 w 1516762"/>
              <a:gd name="connsiteY1" fmla="*/ 0 h 369332"/>
              <a:gd name="connsiteX2" fmla="*/ 950504 w 1516762"/>
              <a:gd name="connsiteY2" fmla="*/ 0 h 369332"/>
              <a:gd name="connsiteX3" fmla="*/ 1516762 w 1516762"/>
              <a:gd name="connsiteY3" fmla="*/ 0 h 369332"/>
              <a:gd name="connsiteX4" fmla="*/ 1516762 w 1516762"/>
              <a:gd name="connsiteY4" fmla="*/ 369332 h 369332"/>
              <a:gd name="connsiteX5" fmla="*/ 1041510 w 1516762"/>
              <a:gd name="connsiteY5" fmla="*/ 369332 h 369332"/>
              <a:gd name="connsiteX6" fmla="*/ 505587 w 1516762"/>
              <a:gd name="connsiteY6" fmla="*/ 369332 h 369332"/>
              <a:gd name="connsiteX7" fmla="*/ 0 w 1516762"/>
              <a:gd name="connsiteY7" fmla="*/ 369332 h 369332"/>
              <a:gd name="connsiteX8" fmla="*/ 0 w 151676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16762" h="369332" extrusionOk="0">
                <a:moveTo>
                  <a:pt x="0" y="0"/>
                </a:moveTo>
                <a:cubicBezTo>
                  <a:pt x="209769" y="-41365"/>
                  <a:pt x="341349" y="8781"/>
                  <a:pt x="490420" y="0"/>
                </a:cubicBezTo>
                <a:cubicBezTo>
                  <a:pt x="639491" y="-8781"/>
                  <a:pt x="756427" y="27278"/>
                  <a:pt x="950504" y="0"/>
                </a:cubicBezTo>
                <a:cubicBezTo>
                  <a:pt x="1144581" y="-27278"/>
                  <a:pt x="1344649" y="62508"/>
                  <a:pt x="1516762" y="0"/>
                </a:cubicBezTo>
                <a:cubicBezTo>
                  <a:pt x="1552350" y="113493"/>
                  <a:pt x="1489955" y="197069"/>
                  <a:pt x="1516762" y="369332"/>
                </a:cubicBezTo>
                <a:cubicBezTo>
                  <a:pt x="1357875" y="419827"/>
                  <a:pt x="1249273" y="346156"/>
                  <a:pt x="1041510" y="369332"/>
                </a:cubicBezTo>
                <a:cubicBezTo>
                  <a:pt x="833747" y="392508"/>
                  <a:pt x="685626" y="339860"/>
                  <a:pt x="505587" y="369332"/>
                </a:cubicBezTo>
                <a:cubicBezTo>
                  <a:pt x="325548" y="398804"/>
                  <a:pt x="135452" y="31407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ipelines/AP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A3C9098-CF9B-E8E3-71FE-866D524E7537}"/>
              </a:ext>
            </a:extLst>
          </p:cNvPr>
          <p:cNvSpPr txBox="1"/>
          <p:nvPr/>
        </p:nvSpPr>
        <p:spPr>
          <a:xfrm>
            <a:off x="653484" y="4570283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For platform,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prd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, and stg environments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F9B71AEC-FD4A-C5B5-0F84-BD1F558E2D7B}"/>
              </a:ext>
            </a:extLst>
          </p:cNvPr>
          <p:cNvSpPr/>
          <p:nvPr/>
        </p:nvSpPr>
        <p:spPr>
          <a:xfrm rot="2001823" flipV="1">
            <a:off x="4516009" y="4265745"/>
            <a:ext cx="1092674" cy="299469"/>
          </a:xfrm>
          <a:custGeom>
            <a:avLst/>
            <a:gdLst>
              <a:gd name="connsiteX0" fmla="*/ 0 w 1092674"/>
              <a:gd name="connsiteY0" fmla="*/ 74867 h 299469"/>
              <a:gd name="connsiteX1" fmla="*/ 480899 w 1092674"/>
              <a:gd name="connsiteY1" fmla="*/ 74867 h 299469"/>
              <a:gd name="connsiteX2" fmla="*/ 942940 w 1092674"/>
              <a:gd name="connsiteY2" fmla="*/ 74867 h 299469"/>
              <a:gd name="connsiteX3" fmla="*/ 942940 w 1092674"/>
              <a:gd name="connsiteY3" fmla="*/ 0 h 299469"/>
              <a:gd name="connsiteX4" fmla="*/ 1092674 w 1092674"/>
              <a:gd name="connsiteY4" fmla="*/ 149735 h 299469"/>
              <a:gd name="connsiteX5" fmla="*/ 942940 w 1092674"/>
              <a:gd name="connsiteY5" fmla="*/ 299469 h 299469"/>
              <a:gd name="connsiteX6" fmla="*/ 942940 w 1092674"/>
              <a:gd name="connsiteY6" fmla="*/ 224602 h 299469"/>
              <a:gd name="connsiteX7" fmla="*/ 471470 w 1092674"/>
              <a:gd name="connsiteY7" fmla="*/ 224602 h 299469"/>
              <a:gd name="connsiteX8" fmla="*/ 0 w 1092674"/>
              <a:gd name="connsiteY8" fmla="*/ 224602 h 299469"/>
              <a:gd name="connsiteX9" fmla="*/ 0 w 1092674"/>
              <a:gd name="connsiteY9" fmla="*/ 74867 h 299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2674" h="299469" fill="none" extrusionOk="0">
                <a:moveTo>
                  <a:pt x="0" y="74867"/>
                </a:moveTo>
                <a:cubicBezTo>
                  <a:pt x="216265" y="59847"/>
                  <a:pt x="322152" y="70174"/>
                  <a:pt x="480899" y="74867"/>
                </a:cubicBezTo>
                <a:cubicBezTo>
                  <a:pt x="639646" y="79560"/>
                  <a:pt x="815220" y="93676"/>
                  <a:pt x="942940" y="74867"/>
                </a:cubicBezTo>
                <a:cubicBezTo>
                  <a:pt x="939933" y="43903"/>
                  <a:pt x="940998" y="18180"/>
                  <a:pt x="942940" y="0"/>
                </a:cubicBezTo>
                <a:cubicBezTo>
                  <a:pt x="991485" y="42430"/>
                  <a:pt x="1018307" y="89626"/>
                  <a:pt x="1092674" y="149735"/>
                </a:cubicBezTo>
                <a:cubicBezTo>
                  <a:pt x="1034273" y="221326"/>
                  <a:pt x="1022141" y="233324"/>
                  <a:pt x="942940" y="299469"/>
                </a:cubicBezTo>
                <a:cubicBezTo>
                  <a:pt x="939895" y="264632"/>
                  <a:pt x="941389" y="257076"/>
                  <a:pt x="942940" y="224602"/>
                </a:cubicBezTo>
                <a:cubicBezTo>
                  <a:pt x="770704" y="233480"/>
                  <a:pt x="630420" y="206377"/>
                  <a:pt x="471470" y="224602"/>
                </a:cubicBezTo>
                <a:cubicBezTo>
                  <a:pt x="312520" y="242828"/>
                  <a:pt x="100606" y="216316"/>
                  <a:pt x="0" y="224602"/>
                </a:cubicBezTo>
                <a:cubicBezTo>
                  <a:pt x="2679" y="160280"/>
                  <a:pt x="-5251" y="117299"/>
                  <a:pt x="0" y="74867"/>
                </a:cubicBezTo>
                <a:close/>
              </a:path>
              <a:path w="1092674" h="299469" stroke="0" extrusionOk="0">
                <a:moveTo>
                  <a:pt x="0" y="74867"/>
                </a:moveTo>
                <a:cubicBezTo>
                  <a:pt x="182740" y="66323"/>
                  <a:pt x="266755" y="70824"/>
                  <a:pt x="462041" y="74867"/>
                </a:cubicBezTo>
                <a:cubicBezTo>
                  <a:pt x="657327" y="78910"/>
                  <a:pt x="776283" y="91304"/>
                  <a:pt x="942940" y="74867"/>
                </a:cubicBezTo>
                <a:cubicBezTo>
                  <a:pt x="943202" y="45997"/>
                  <a:pt x="942659" y="23814"/>
                  <a:pt x="942940" y="0"/>
                </a:cubicBezTo>
                <a:cubicBezTo>
                  <a:pt x="1001946" y="61146"/>
                  <a:pt x="1027275" y="94736"/>
                  <a:pt x="1092674" y="149735"/>
                </a:cubicBezTo>
                <a:cubicBezTo>
                  <a:pt x="1066059" y="190945"/>
                  <a:pt x="998770" y="250841"/>
                  <a:pt x="942940" y="299469"/>
                </a:cubicBezTo>
                <a:cubicBezTo>
                  <a:pt x="941148" y="275136"/>
                  <a:pt x="944278" y="253873"/>
                  <a:pt x="942940" y="224602"/>
                </a:cubicBezTo>
                <a:cubicBezTo>
                  <a:pt x="818727" y="229173"/>
                  <a:pt x="597068" y="240046"/>
                  <a:pt x="490329" y="224602"/>
                </a:cubicBezTo>
                <a:cubicBezTo>
                  <a:pt x="383590" y="209158"/>
                  <a:pt x="166327" y="217763"/>
                  <a:pt x="0" y="224602"/>
                </a:cubicBezTo>
                <a:cubicBezTo>
                  <a:pt x="-5217" y="188683"/>
                  <a:pt x="-3688" y="113779"/>
                  <a:pt x="0" y="74867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2C7CC4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5DA7973-71C2-F666-C2C9-AF04021A2428}"/>
              </a:ext>
            </a:extLst>
          </p:cNvPr>
          <p:cNvSpPr/>
          <p:nvPr/>
        </p:nvSpPr>
        <p:spPr>
          <a:xfrm rot="20591741" flipV="1">
            <a:off x="4557014" y="5211065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chemeClr val="tx1"/>
          </a:solidFill>
          <a:ln w="25400">
            <a:solidFill>
              <a:schemeClr val="tx1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FEC3E27B-2463-93F4-1768-261453C1B051}"/>
              </a:ext>
            </a:extLst>
          </p:cNvPr>
          <p:cNvSpPr/>
          <p:nvPr/>
        </p:nvSpPr>
        <p:spPr>
          <a:xfrm rot="908097" flipV="1">
            <a:off x="7769112" y="5319975"/>
            <a:ext cx="706280" cy="256533"/>
          </a:xfrm>
          <a:custGeom>
            <a:avLst/>
            <a:gdLst>
              <a:gd name="connsiteX0" fmla="*/ 0 w 706280"/>
              <a:gd name="connsiteY0" fmla="*/ 64133 h 256533"/>
              <a:gd name="connsiteX1" fmla="*/ 578014 w 706280"/>
              <a:gd name="connsiteY1" fmla="*/ 64133 h 256533"/>
              <a:gd name="connsiteX2" fmla="*/ 578014 w 706280"/>
              <a:gd name="connsiteY2" fmla="*/ 0 h 256533"/>
              <a:gd name="connsiteX3" fmla="*/ 706280 w 706280"/>
              <a:gd name="connsiteY3" fmla="*/ 128267 h 256533"/>
              <a:gd name="connsiteX4" fmla="*/ 578014 w 706280"/>
              <a:gd name="connsiteY4" fmla="*/ 256533 h 256533"/>
              <a:gd name="connsiteX5" fmla="*/ 578014 w 706280"/>
              <a:gd name="connsiteY5" fmla="*/ 192400 h 256533"/>
              <a:gd name="connsiteX6" fmla="*/ 0 w 706280"/>
              <a:gd name="connsiteY6" fmla="*/ 192400 h 256533"/>
              <a:gd name="connsiteX7" fmla="*/ 0 w 706280"/>
              <a:gd name="connsiteY7" fmla="*/ 64133 h 25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280" h="256533" fill="none" extrusionOk="0">
                <a:moveTo>
                  <a:pt x="0" y="64133"/>
                </a:moveTo>
                <a:cubicBezTo>
                  <a:pt x="119703" y="36933"/>
                  <a:pt x="438341" y="41747"/>
                  <a:pt x="578014" y="64133"/>
                </a:cubicBezTo>
                <a:cubicBezTo>
                  <a:pt x="580928" y="46695"/>
                  <a:pt x="578944" y="24063"/>
                  <a:pt x="578014" y="0"/>
                </a:cubicBezTo>
                <a:cubicBezTo>
                  <a:pt x="629791" y="46744"/>
                  <a:pt x="646733" y="70085"/>
                  <a:pt x="706280" y="128267"/>
                </a:cubicBezTo>
                <a:cubicBezTo>
                  <a:pt x="658026" y="168319"/>
                  <a:pt x="630765" y="212715"/>
                  <a:pt x="578014" y="256533"/>
                </a:cubicBezTo>
                <a:cubicBezTo>
                  <a:pt x="581017" y="227742"/>
                  <a:pt x="579972" y="205413"/>
                  <a:pt x="578014" y="192400"/>
                </a:cubicBezTo>
                <a:cubicBezTo>
                  <a:pt x="401428" y="209641"/>
                  <a:pt x="232629" y="168467"/>
                  <a:pt x="0" y="192400"/>
                </a:cubicBezTo>
                <a:cubicBezTo>
                  <a:pt x="-1038" y="146386"/>
                  <a:pt x="-4173" y="125670"/>
                  <a:pt x="0" y="64133"/>
                </a:cubicBezTo>
                <a:close/>
              </a:path>
              <a:path w="706280" h="256533" stroke="0" extrusionOk="0">
                <a:moveTo>
                  <a:pt x="0" y="64133"/>
                </a:moveTo>
                <a:cubicBezTo>
                  <a:pt x="213834" y="55600"/>
                  <a:pt x="417693" y="67746"/>
                  <a:pt x="578014" y="64133"/>
                </a:cubicBezTo>
                <a:cubicBezTo>
                  <a:pt x="574814" y="46165"/>
                  <a:pt x="576590" y="13763"/>
                  <a:pt x="578014" y="0"/>
                </a:cubicBezTo>
                <a:cubicBezTo>
                  <a:pt x="640166" y="55615"/>
                  <a:pt x="660590" y="78952"/>
                  <a:pt x="706280" y="128267"/>
                </a:cubicBezTo>
                <a:cubicBezTo>
                  <a:pt x="654356" y="176033"/>
                  <a:pt x="637501" y="191565"/>
                  <a:pt x="578014" y="256533"/>
                </a:cubicBezTo>
                <a:cubicBezTo>
                  <a:pt x="577990" y="241963"/>
                  <a:pt x="579615" y="207033"/>
                  <a:pt x="578014" y="192400"/>
                </a:cubicBezTo>
                <a:cubicBezTo>
                  <a:pt x="330043" y="177818"/>
                  <a:pt x="125278" y="199023"/>
                  <a:pt x="0" y="192400"/>
                </a:cubicBezTo>
                <a:cubicBezTo>
                  <a:pt x="3676" y="156556"/>
                  <a:pt x="-2090" y="104521"/>
                  <a:pt x="0" y="64133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00FDE197-9BBA-4949-EAA3-67CC5AEF7914}"/>
              </a:ext>
            </a:extLst>
          </p:cNvPr>
          <p:cNvSpPr/>
          <p:nvPr/>
        </p:nvSpPr>
        <p:spPr>
          <a:xfrm rot="20782950" flipV="1">
            <a:off x="7758716" y="4520037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chemeClr val="tx1"/>
          </a:solidFill>
          <a:ln w="25400">
            <a:solidFill>
              <a:schemeClr val="tx1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7254F6E-660C-EA47-93CA-AD4E22D18D81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26" name="Rectángulo redondeado 14">
              <a:extLst>
                <a:ext uri="{FF2B5EF4-FFF2-40B4-BE49-F238E27FC236}">
                  <a16:creationId xmlns:a16="http://schemas.microsoft.com/office/drawing/2014/main" id="{C7F92985-B2C6-4B3B-E12E-5DAEA3672EE9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Rectángulo 12">
              <a:extLst>
                <a:ext uri="{FF2B5EF4-FFF2-40B4-BE49-F238E27FC236}">
                  <a16:creationId xmlns:a16="http://schemas.microsoft.com/office/drawing/2014/main" id="{EABDD0FD-4C15-6386-896C-424B769ADF6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for non-pro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94347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A50BD54-6EF0-41DB-8B78-7B3979203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A50BD54-6EF0-41DB-8B78-7B3979203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A0CD0628-BE93-4E93-89A1-049CA0385C47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CF390EA-F541-42AC-A191-9D66726DD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9200" y="0"/>
              <a:ext cx="10972800" cy="6858000"/>
            </a:xfrm>
            <a:prstGeom prst="rect">
              <a:avLst/>
            </a:prstGeom>
          </p:spPr>
        </p:pic>
        <p:pic>
          <p:nvPicPr>
            <p:cNvPr id="11" name="Picture 10" descr="Background pattern&#10;&#10;Description automatically generated">
              <a:extLst>
                <a:ext uri="{FF2B5EF4-FFF2-40B4-BE49-F238E27FC236}">
                  <a16:creationId xmlns:a16="http://schemas.microsoft.com/office/drawing/2014/main" id="{ED9046E5-1194-4C10-B843-3F7C0E36AC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0972800" cy="6858000"/>
            </a:xfrm>
            <a:prstGeom prst="rect">
              <a:avLst/>
            </a:prstGeom>
          </p:spPr>
        </p:pic>
      </p:grpSp>
      <p:sp>
        <p:nvSpPr>
          <p:cNvPr id="19" name="Rectángulo 6175">
            <a:extLst>
              <a:ext uri="{FF2B5EF4-FFF2-40B4-BE49-F238E27FC236}">
                <a16:creationId xmlns:a16="http://schemas.microsoft.com/office/drawing/2014/main" id="{EFE57DC7-03CB-4F7C-BE5A-FBAC21B16E13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任意多边形: 形状 16">
            <a:extLst>
              <a:ext uri="{FF2B5EF4-FFF2-40B4-BE49-F238E27FC236}">
                <a16:creationId xmlns:a16="http://schemas.microsoft.com/office/drawing/2014/main" id="{31A823D7-1B88-4F38-BE76-926B73DB954B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任意多边形: 形状 16">
            <a:extLst>
              <a:ext uri="{FF2B5EF4-FFF2-40B4-BE49-F238E27FC236}">
                <a16:creationId xmlns:a16="http://schemas.microsoft.com/office/drawing/2014/main" id="{0DD2B3B6-D900-41C8-AFBB-0AC979BBC4E2}"/>
              </a:ext>
            </a:extLst>
          </p:cNvPr>
          <p:cNvSpPr/>
          <p:nvPr/>
        </p:nvSpPr>
        <p:spPr>
          <a:xfrm>
            <a:off x="9464634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7BB768-0467-477F-8D3E-28FA30DF6F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F5C2D4-9F4F-49E8-A23F-5F779843B4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24A43240-638F-4F66-B4D2-15C86DC2B919}"/>
              </a:ext>
            </a:extLst>
          </p:cNvPr>
          <p:cNvSpPr/>
          <p:nvPr/>
        </p:nvSpPr>
        <p:spPr>
          <a:xfrm>
            <a:off x="834056" y="1089635"/>
            <a:ext cx="10523889" cy="4168165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ángulo redondeado 14">
            <a:extLst>
              <a:ext uri="{FF2B5EF4-FFF2-40B4-BE49-F238E27FC236}">
                <a16:creationId xmlns:a16="http://schemas.microsoft.com/office/drawing/2014/main" id="{30E317FD-66E5-4066-8B29-53DBDAD808F0}"/>
              </a:ext>
            </a:extLst>
          </p:cNvPr>
          <p:cNvSpPr/>
          <p:nvPr/>
        </p:nvSpPr>
        <p:spPr>
          <a:xfrm>
            <a:off x="1038078" y="2082799"/>
            <a:ext cx="6536336" cy="2580721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9C8210-EFD0-48DE-819A-E9D8215C46A7}"/>
              </a:ext>
            </a:extLst>
          </p:cNvPr>
          <p:cNvCxnSpPr>
            <a:cxnSpLocks/>
          </p:cNvCxnSpPr>
          <p:nvPr/>
        </p:nvCxnSpPr>
        <p:spPr>
          <a:xfrm>
            <a:off x="2742954" y="6035777"/>
            <a:ext cx="9471748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ángulo redondeado 14">
            <a:extLst>
              <a:ext uri="{FF2B5EF4-FFF2-40B4-BE49-F238E27FC236}">
                <a16:creationId xmlns:a16="http://schemas.microsoft.com/office/drawing/2014/main" id="{FBD9C24B-6744-4A4B-A4D7-1374C86506BC}"/>
              </a:ext>
            </a:extLst>
          </p:cNvPr>
          <p:cNvSpPr/>
          <p:nvPr/>
        </p:nvSpPr>
        <p:spPr>
          <a:xfrm>
            <a:off x="1186516" y="26058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ángulo 12">
            <a:extLst>
              <a:ext uri="{FF2B5EF4-FFF2-40B4-BE49-F238E27FC236}">
                <a16:creationId xmlns:a16="http://schemas.microsoft.com/office/drawing/2014/main" id="{2196B0D9-D472-45E7-B1FD-7389D45039D1}"/>
              </a:ext>
            </a:extLst>
          </p:cNvPr>
          <p:cNvSpPr/>
          <p:nvPr/>
        </p:nvSpPr>
        <p:spPr>
          <a:xfrm>
            <a:off x="2216839" y="2838549"/>
            <a:ext cx="3411032" cy="923330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5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Questions</a:t>
            </a:r>
            <a:endParaRPr lang="en-US" sz="54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92C83EC-88F0-42DB-9670-6156FBFAFE95}"/>
              </a:ext>
            </a:extLst>
          </p:cNvPr>
          <p:cNvCxnSpPr/>
          <p:nvPr/>
        </p:nvCxnSpPr>
        <p:spPr>
          <a:xfrm>
            <a:off x="1587500" y="2082800"/>
            <a:ext cx="90805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4" name="Picture 4">
            <a:extLst>
              <a:ext uri="{FF2B5EF4-FFF2-40B4-BE49-F238E27FC236}">
                <a16:creationId xmlns:a16="http://schemas.microsoft.com/office/drawing/2014/main" id="{555B807A-A283-199B-9E9E-83DA39A7D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269" y="1899973"/>
            <a:ext cx="2742955" cy="316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toy figure with a black mask and a black helmet&#10;&#10;Description automatically generated with medium confidence">
            <a:extLst>
              <a:ext uri="{FF2B5EF4-FFF2-40B4-BE49-F238E27FC236}">
                <a16:creationId xmlns:a16="http://schemas.microsoft.com/office/drawing/2014/main" id="{9FBB808E-D773-4B35-38D2-FA49BA55E5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253" y="693299"/>
            <a:ext cx="2127942" cy="5019888"/>
          </a:xfrm>
          <a:prstGeom prst="rect">
            <a:avLst/>
          </a:prstGeom>
        </p:spPr>
      </p:pic>
      <p:pic>
        <p:nvPicPr>
          <p:cNvPr id="10" name="Picture 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55C09304-8051-580C-D438-EA435B1E69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2671" y="345440"/>
            <a:ext cx="2330185" cy="5478793"/>
          </a:xfrm>
          <a:prstGeom prst="rect">
            <a:avLst/>
          </a:prstGeom>
        </p:spPr>
      </p:pic>
      <p:pic>
        <p:nvPicPr>
          <p:cNvPr id="17" name="Picture 16" descr="A white robot with a black background&#10;&#10;Description automatically generated">
            <a:extLst>
              <a:ext uri="{FF2B5EF4-FFF2-40B4-BE49-F238E27FC236}">
                <a16:creationId xmlns:a16="http://schemas.microsoft.com/office/drawing/2014/main" id="{745CC2B0-50A3-05B8-BD25-52813BC4630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6224" y="2399929"/>
            <a:ext cx="3826722" cy="3826722"/>
          </a:xfrm>
          <a:prstGeom prst="rect">
            <a:avLst/>
          </a:prstGeom>
        </p:spPr>
      </p:pic>
      <p:pic>
        <p:nvPicPr>
          <p:cNvPr id="22" name="Picture 21" descr="A logo on a black background&#10;&#10;Description automatically generated">
            <a:extLst>
              <a:ext uri="{FF2B5EF4-FFF2-40B4-BE49-F238E27FC236}">
                <a16:creationId xmlns:a16="http://schemas.microsoft.com/office/drawing/2014/main" id="{4CDF2C6D-3CC7-59E6-6659-3A6B6FF6903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1120625" y="271278"/>
            <a:ext cx="5069888" cy="149049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FCB3476-0616-6DCE-9513-A3C9D276546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3566" y="423372"/>
            <a:ext cx="878993" cy="87899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17D3D-6C95-15BC-5C0A-6D411E994C4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99" y="4619743"/>
            <a:ext cx="3012837" cy="301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711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015C3AFA-190E-0DCE-C174-6195E6DEE9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71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073D2-D02C-4602-90E7-2FBE431AD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62078" y="469489"/>
            <a:ext cx="10523889" cy="5395636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6460791" y="792843"/>
            <a:ext cx="4572268" cy="4385889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6487094" y="2187087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9565BB47-835A-4FD4-B946-9DD07A6DBC9E}"/>
              </a:ext>
            </a:extLst>
          </p:cNvPr>
          <p:cNvSpPr/>
          <p:nvPr/>
        </p:nvSpPr>
        <p:spPr>
          <a:xfrm>
            <a:off x="6016819" y="4935544"/>
            <a:ext cx="5919542" cy="1760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ángulo 12">
            <a:extLst>
              <a:ext uri="{FF2B5EF4-FFF2-40B4-BE49-F238E27FC236}">
                <a16:creationId xmlns:a16="http://schemas.microsoft.com/office/drawing/2014/main" id="{77DA9832-58B0-4DB8-8B68-08B4705894D6}"/>
              </a:ext>
            </a:extLst>
          </p:cNvPr>
          <p:cNvSpPr/>
          <p:nvPr/>
        </p:nvSpPr>
        <p:spPr>
          <a:xfrm>
            <a:off x="6940568" y="2187087"/>
            <a:ext cx="3723417" cy="255454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endParaRPr lang="en-US" sz="7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80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YOU! </a:t>
            </a:r>
            <a:endParaRPr lang="en-US" sz="80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7170" name="Picture 2" descr="Unsere Partner | sensatus GmbH">
            <a:extLst>
              <a:ext uri="{FF2B5EF4-FFF2-40B4-BE49-F238E27FC236}">
                <a16:creationId xmlns:a16="http://schemas.microsoft.com/office/drawing/2014/main" id="{3F767317-20A8-8296-699C-0DA70107B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131" y="674901"/>
            <a:ext cx="3819898" cy="1994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F330A1-262B-4171-30E6-559F660A3C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45" y="1235989"/>
            <a:ext cx="591736" cy="591736"/>
          </a:xfrm>
          <a:prstGeom prst="rect">
            <a:avLst/>
          </a:prstGeom>
        </p:spPr>
      </p:pic>
      <p:sp>
        <p:nvSpPr>
          <p:cNvPr id="34" name="Rectángulo 12">
            <a:extLst>
              <a:ext uri="{FF2B5EF4-FFF2-40B4-BE49-F238E27FC236}">
                <a16:creationId xmlns:a16="http://schemas.microsoft.com/office/drawing/2014/main" id="{0D3B918B-34A0-D351-D0FC-C18F18F619F2}"/>
              </a:ext>
            </a:extLst>
          </p:cNvPr>
          <p:cNvSpPr/>
          <p:nvPr/>
        </p:nvSpPr>
        <p:spPr>
          <a:xfrm>
            <a:off x="6887988" y="1074467"/>
            <a:ext cx="4338014" cy="830997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Sponsors 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ángulo redondeado 14">
            <a:extLst>
              <a:ext uri="{FF2B5EF4-FFF2-40B4-BE49-F238E27FC236}">
                <a16:creationId xmlns:a16="http://schemas.microsoft.com/office/drawing/2014/main" id="{BCAE964C-8DC6-45B7-51CB-BB702A95891F}"/>
              </a:ext>
            </a:extLst>
          </p:cNvPr>
          <p:cNvSpPr/>
          <p:nvPr/>
        </p:nvSpPr>
        <p:spPr>
          <a:xfrm>
            <a:off x="6175182" y="504630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E412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673E9516-2ADD-9E26-06F4-93ECCF20303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6175182" y="5039844"/>
            <a:ext cx="5069888" cy="14904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A06282-06C3-74D6-F3B3-75DF59347A5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68084"/>
          <a:stretch/>
        </p:blipFill>
        <p:spPr>
          <a:xfrm>
            <a:off x="1868478" y="5046471"/>
            <a:ext cx="739172" cy="5764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5AF7C9-BF10-8C53-7008-3C7A83FBD0D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2610"/>
          <a:stretch/>
        </p:blipFill>
        <p:spPr>
          <a:xfrm>
            <a:off x="2787875" y="4860983"/>
            <a:ext cx="2657652" cy="98154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0497A61-4D2D-AD3B-B13D-F748A743A8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133" y="5201332"/>
            <a:ext cx="878993" cy="87899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100AECD-2D7E-2957-1303-41E5A2D2F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83" y="2779256"/>
            <a:ext cx="3876675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99112DE-3DEB-C6A7-D51C-2FF1E42F08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894" y="4054126"/>
            <a:ext cx="3524715" cy="77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DFAC41A4-E8CF-E5F1-6591-455EBD4D2E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279" y="2670969"/>
            <a:ext cx="1941179" cy="456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77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015C3AFA-190E-0DCE-C174-6195E6DEE9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71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073D2-D02C-4602-90E7-2FBE431AD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62078" y="469489"/>
            <a:ext cx="10523889" cy="5395636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6460791" y="792843"/>
            <a:ext cx="4572268" cy="4385889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6487094" y="2187087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9565BB47-835A-4FD4-B946-9DD07A6DBC9E}"/>
              </a:ext>
            </a:extLst>
          </p:cNvPr>
          <p:cNvSpPr/>
          <p:nvPr/>
        </p:nvSpPr>
        <p:spPr>
          <a:xfrm>
            <a:off x="6016819" y="4935544"/>
            <a:ext cx="5919542" cy="1760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ángulo 12">
            <a:extLst>
              <a:ext uri="{FF2B5EF4-FFF2-40B4-BE49-F238E27FC236}">
                <a16:creationId xmlns:a16="http://schemas.microsoft.com/office/drawing/2014/main" id="{77DA9832-58B0-4DB8-8B68-08B4705894D6}"/>
              </a:ext>
            </a:extLst>
          </p:cNvPr>
          <p:cNvSpPr/>
          <p:nvPr/>
        </p:nvSpPr>
        <p:spPr>
          <a:xfrm>
            <a:off x="6940568" y="2156309"/>
            <a:ext cx="3723417" cy="2585323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endParaRPr lang="en-US" sz="48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54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For </a:t>
            </a:r>
            <a:r>
              <a:rPr lang="en-US" sz="5400" b="1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having Me</a:t>
            </a:r>
            <a:endParaRPr lang="en-US" sz="54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7170" name="Picture 2" descr="Unsere Partner | sensatus GmbH">
            <a:extLst>
              <a:ext uri="{FF2B5EF4-FFF2-40B4-BE49-F238E27FC236}">
                <a16:creationId xmlns:a16="http://schemas.microsoft.com/office/drawing/2014/main" id="{3F767317-20A8-8296-699C-0DA70107B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131" y="674901"/>
            <a:ext cx="3819898" cy="1994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F330A1-262B-4171-30E6-559F660A3C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45" y="1235989"/>
            <a:ext cx="591736" cy="591736"/>
          </a:xfrm>
          <a:prstGeom prst="rect">
            <a:avLst/>
          </a:prstGeom>
        </p:spPr>
      </p:pic>
      <p:sp>
        <p:nvSpPr>
          <p:cNvPr id="34" name="Rectángulo 12">
            <a:extLst>
              <a:ext uri="{FF2B5EF4-FFF2-40B4-BE49-F238E27FC236}">
                <a16:creationId xmlns:a16="http://schemas.microsoft.com/office/drawing/2014/main" id="{0D3B918B-34A0-D351-D0FC-C18F18F619F2}"/>
              </a:ext>
            </a:extLst>
          </p:cNvPr>
          <p:cNvSpPr/>
          <p:nvPr/>
        </p:nvSpPr>
        <p:spPr>
          <a:xfrm>
            <a:off x="6887988" y="1074467"/>
            <a:ext cx="4338014" cy="830997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Sponsors 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ángulo redondeado 14">
            <a:extLst>
              <a:ext uri="{FF2B5EF4-FFF2-40B4-BE49-F238E27FC236}">
                <a16:creationId xmlns:a16="http://schemas.microsoft.com/office/drawing/2014/main" id="{BCAE964C-8DC6-45B7-51CB-BB702A95891F}"/>
              </a:ext>
            </a:extLst>
          </p:cNvPr>
          <p:cNvSpPr/>
          <p:nvPr/>
        </p:nvSpPr>
        <p:spPr>
          <a:xfrm>
            <a:off x="6175182" y="504630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E412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673E9516-2ADD-9E26-06F4-93ECCF20303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6175182" y="5039844"/>
            <a:ext cx="5069888" cy="14904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A06282-06C3-74D6-F3B3-75DF59347A5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68084"/>
          <a:stretch/>
        </p:blipFill>
        <p:spPr>
          <a:xfrm>
            <a:off x="1868478" y="5046471"/>
            <a:ext cx="739172" cy="5764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5AF7C9-BF10-8C53-7008-3C7A83FBD0D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2610"/>
          <a:stretch/>
        </p:blipFill>
        <p:spPr>
          <a:xfrm>
            <a:off x="2787875" y="4860983"/>
            <a:ext cx="2657652" cy="98154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0497A61-4D2D-AD3B-B13D-F748A743A8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133" y="5201332"/>
            <a:ext cx="878993" cy="87899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100AECD-2D7E-2957-1303-41E5A2D2F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83" y="2779256"/>
            <a:ext cx="3876675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99112DE-3DEB-C6A7-D51C-2FF1E42F08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894" y="4054126"/>
            <a:ext cx="3524715" cy="77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DFAC41A4-E8CF-E5F1-6591-455EBD4D2E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279" y="2670969"/>
            <a:ext cx="1941179" cy="456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397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D72A03-11B9-4E6C-BCD0-ABF1CEA11D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D72A03-11B9-4E6C-BCD0-ABF1CEA11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B2389E89-8E98-4579-91A3-E987C1C7A7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1" name="Freeform 46">
            <a:extLst>
              <a:ext uri="{FF2B5EF4-FFF2-40B4-BE49-F238E27FC236}">
                <a16:creationId xmlns:a16="http://schemas.microsoft.com/office/drawing/2014/main" id="{4D9DC0AD-5633-4D49-BD94-C66F7DCB7AD6}"/>
              </a:ext>
            </a:extLst>
          </p:cNvPr>
          <p:cNvSpPr/>
          <p:nvPr/>
        </p:nvSpPr>
        <p:spPr>
          <a:xfrm>
            <a:off x="6107351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" name="Freeform 46">
            <a:extLst>
              <a:ext uri="{FF2B5EF4-FFF2-40B4-BE49-F238E27FC236}">
                <a16:creationId xmlns:a16="http://schemas.microsoft.com/office/drawing/2014/main" id="{8ED71039-7081-468E-AB92-9D260FF8A12E}"/>
              </a:ext>
            </a:extLst>
          </p:cNvPr>
          <p:cNvSpPr/>
          <p:nvPr/>
        </p:nvSpPr>
        <p:spPr>
          <a:xfrm>
            <a:off x="7993128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Freeform 46">
            <a:extLst>
              <a:ext uri="{FF2B5EF4-FFF2-40B4-BE49-F238E27FC236}">
                <a16:creationId xmlns:a16="http://schemas.microsoft.com/office/drawing/2014/main" id="{EEA6B409-1179-47CA-903C-EDA2E45A466C}"/>
              </a:ext>
            </a:extLst>
          </p:cNvPr>
          <p:cNvSpPr/>
          <p:nvPr/>
        </p:nvSpPr>
        <p:spPr>
          <a:xfrm>
            <a:off x="9878905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Rectángulo 6175">
            <a:extLst>
              <a:ext uri="{FF2B5EF4-FFF2-40B4-BE49-F238E27FC236}">
                <a16:creationId xmlns:a16="http://schemas.microsoft.com/office/drawing/2014/main" id="{2A64D682-0050-4389-A90C-EFAC74AECC49}"/>
              </a:ext>
            </a:extLst>
          </p:cNvPr>
          <p:cNvSpPr/>
          <p:nvPr/>
        </p:nvSpPr>
        <p:spPr>
          <a:xfrm>
            <a:off x="0" y="-36682"/>
            <a:ext cx="12214702" cy="2683845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任意多边形: 形状 16">
            <a:extLst>
              <a:ext uri="{FF2B5EF4-FFF2-40B4-BE49-F238E27FC236}">
                <a16:creationId xmlns:a16="http://schemas.microsoft.com/office/drawing/2014/main" id="{B41D6309-0230-480F-8705-C0BE4833FB4E}"/>
              </a:ext>
            </a:extLst>
          </p:cNvPr>
          <p:cNvSpPr/>
          <p:nvPr/>
        </p:nvSpPr>
        <p:spPr>
          <a:xfrm rot="10800000">
            <a:off x="27305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任意多边形: 形状 16">
            <a:extLst>
              <a:ext uri="{FF2B5EF4-FFF2-40B4-BE49-F238E27FC236}">
                <a16:creationId xmlns:a16="http://schemas.microsoft.com/office/drawing/2014/main" id="{66AD9C33-101F-4AD0-9008-15A7C8976DD8}"/>
              </a:ext>
            </a:extLst>
          </p:cNvPr>
          <p:cNvSpPr/>
          <p:nvPr/>
        </p:nvSpPr>
        <p:spPr>
          <a:xfrm rot="10800000">
            <a:off x="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任意多边形: 形状 16">
            <a:extLst>
              <a:ext uri="{FF2B5EF4-FFF2-40B4-BE49-F238E27FC236}">
                <a16:creationId xmlns:a16="http://schemas.microsoft.com/office/drawing/2014/main" id="{11D50B8D-711A-451B-9DA6-E859A753420B}"/>
              </a:ext>
            </a:extLst>
          </p:cNvPr>
          <p:cNvSpPr/>
          <p:nvPr/>
        </p:nvSpPr>
        <p:spPr>
          <a:xfrm rot="10800000">
            <a:off x="27466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任意多边形: 形状 16">
            <a:extLst>
              <a:ext uri="{FF2B5EF4-FFF2-40B4-BE49-F238E27FC236}">
                <a16:creationId xmlns:a16="http://schemas.microsoft.com/office/drawing/2014/main" id="{DE495D2F-7C07-4866-B830-0C0EAB5809D4}"/>
              </a:ext>
            </a:extLst>
          </p:cNvPr>
          <p:cNvSpPr/>
          <p:nvPr/>
        </p:nvSpPr>
        <p:spPr>
          <a:xfrm rot="10800000">
            <a:off x="16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任意多边形: 形状 16">
            <a:extLst>
              <a:ext uri="{FF2B5EF4-FFF2-40B4-BE49-F238E27FC236}">
                <a16:creationId xmlns:a16="http://schemas.microsoft.com/office/drawing/2014/main" id="{532E5B3A-1DDF-4B30-B942-35F41308A3DF}"/>
              </a:ext>
            </a:extLst>
          </p:cNvPr>
          <p:cNvSpPr/>
          <p:nvPr/>
        </p:nvSpPr>
        <p:spPr>
          <a:xfrm rot="10800000">
            <a:off x="5477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任意多边形: 形状 16">
            <a:extLst>
              <a:ext uri="{FF2B5EF4-FFF2-40B4-BE49-F238E27FC236}">
                <a16:creationId xmlns:a16="http://schemas.microsoft.com/office/drawing/2014/main" id="{66CD9716-F730-41A4-B083-C6BBE3A64580}"/>
              </a:ext>
            </a:extLst>
          </p:cNvPr>
          <p:cNvSpPr/>
          <p:nvPr/>
        </p:nvSpPr>
        <p:spPr>
          <a:xfrm rot="10800000">
            <a:off x="82203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36B71F34-F6E5-49FC-958C-CC95E450CBA2}"/>
              </a:ext>
            </a:extLst>
          </p:cNvPr>
          <p:cNvSpPr/>
          <p:nvPr/>
        </p:nvSpPr>
        <p:spPr>
          <a:xfrm rot="10800000">
            <a:off x="10963577" y="-27807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4" name="任意多边形: 形状 16">
            <a:extLst>
              <a:ext uri="{FF2B5EF4-FFF2-40B4-BE49-F238E27FC236}">
                <a16:creationId xmlns:a16="http://schemas.microsoft.com/office/drawing/2014/main" id="{387479D5-7E0D-498F-807F-D29675002DDC}"/>
              </a:ext>
            </a:extLst>
          </p:cNvPr>
          <p:cNvSpPr/>
          <p:nvPr/>
        </p:nvSpPr>
        <p:spPr>
          <a:xfrm rot="10800000">
            <a:off x="54610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: 形状 16">
            <a:extLst>
              <a:ext uri="{FF2B5EF4-FFF2-40B4-BE49-F238E27FC236}">
                <a16:creationId xmlns:a16="http://schemas.microsoft.com/office/drawing/2014/main" id="{8C64FE4C-BD51-4E69-B027-70D75C63AF5C}"/>
              </a:ext>
            </a:extLst>
          </p:cNvPr>
          <p:cNvSpPr/>
          <p:nvPr/>
        </p:nvSpPr>
        <p:spPr>
          <a:xfrm rot="10800000">
            <a:off x="82042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D515D6-1ADB-4D8D-B3AC-1B0531764E09}"/>
              </a:ext>
            </a:extLst>
          </p:cNvPr>
          <p:cNvSpPr/>
          <p:nvPr/>
        </p:nvSpPr>
        <p:spPr>
          <a:xfrm rot="10800000">
            <a:off x="10947400" y="262039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0B84BBC-F177-4629-A741-B627A06E500D}"/>
              </a:ext>
            </a:extLst>
          </p:cNvPr>
          <p:cNvSpPr/>
          <p:nvPr/>
        </p:nvSpPr>
        <p:spPr>
          <a:xfrm>
            <a:off x="566057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190FA3A6-A08C-4DCE-8A05-1B994166BB0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8390" y="1205676"/>
            <a:ext cx="4446650" cy="4446650"/>
          </a:xfrm>
          <a:custGeom>
            <a:avLst/>
            <a:gdLst>
              <a:gd name="connsiteX0" fmla="*/ 2223325 w 4446650"/>
              <a:gd name="connsiteY0" fmla="*/ 0 h 4446650"/>
              <a:gd name="connsiteX1" fmla="*/ 4446650 w 4446650"/>
              <a:gd name="connsiteY1" fmla="*/ 2223325 h 4446650"/>
              <a:gd name="connsiteX2" fmla="*/ 2223325 w 4446650"/>
              <a:gd name="connsiteY2" fmla="*/ 4446650 h 4446650"/>
              <a:gd name="connsiteX3" fmla="*/ 0 w 4446650"/>
              <a:gd name="connsiteY3" fmla="*/ 2223325 h 4446650"/>
              <a:gd name="connsiteX4" fmla="*/ 2223325 w 4446650"/>
              <a:gd name="connsiteY4" fmla="*/ 0 h 444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6650" h="4446650">
                <a:moveTo>
                  <a:pt x="2223325" y="0"/>
                </a:moveTo>
                <a:cubicBezTo>
                  <a:pt x="3451233" y="0"/>
                  <a:pt x="4446650" y="995417"/>
                  <a:pt x="4446650" y="2223325"/>
                </a:cubicBezTo>
                <a:cubicBezTo>
                  <a:pt x="4446650" y="3451233"/>
                  <a:pt x="3451233" y="4446650"/>
                  <a:pt x="2223325" y="4446650"/>
                </a:cubicBezTo>
                <a:cubicBezTo>
                  <a:pt x="995417" y="4446650"/>
                  <a:pt x="0" y="3451233"/>
                  <a:pt x="0" y="2223325"/>
                </a:cubicBezTo>
                <a:cubicBezTo>
                  <a:pt x="0" y="995417"/>
                  <a:pt x="995417" y="0"/>
                  <a:pt x="2223325" y="0"/>
                </a:cubicBezTo>
                <a:close/>
              </a:path>
            </a:pathLst>
          </a:cu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2A58A6FB-24A2-4A27-8181-6B6DD240EBB2}"/>
              </a:ext>
            </a:extLst>
          </p:cNvPr>
          <p:cNvSpPr/>
          <p:nvPr/>
        </p:nvSpPr>
        <p:spPr>
          <a:xfrm>
            <a:off x="3811331" y="4575688"/>
            <a:ext cx="1422400" cy="1422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1703243E-44E4-457F-80BE-7AA8096FA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1" y="457704"/>
            <a:ext cx="5529942" cy="741568"/>
          </a:xfrm>
        </p:spPr>
        <p:txBody>
          <a:bodyPr lIns="0" rIns="0"/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orgi Ivanov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DBE26754-A8EE-45ED-AD2C-1D7BC6C96481}"/>
              </a:ext>
            </a:extLst>
          </p:cNvPr>
          <p:cNvSpPr/>
          <p:nvPr/>
        </p:nvSpPr>
        <p:spPr>
          <a:xfrm>
            <a:off x="6341412" y="2427607"/>
            <a:ext cx="1230377" cy="12584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7629AD3-06D2-4F08-A9C3-1728F5520D12}"/>
              </a:ext>
            </a:extLst>
          </p:cNvPr>
          <p:cNvSpPr/>
          <p:nvPr/>
        </p:nvSpPr>
        <p:spPr>
          <a:xfrm>
            <a:off x="6535055" y="2633253"/>
            <a:ext cx="812569" cy="817538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E63FFAA8-15DA-4D24-AB88-1B8C66AC4264}"/>
              </a:ext>
            </a:extLst>
          </p:cNvPr>
          <p:cNvSpPr txBox="1">
            <a:spLocks/>
          </p:cNvSpPr>
          <p:nvPr/>
        </p:nvSpPr>
        <p:spPr>
          <a:xfrm>
            <a:off x="6124672" y="1262352"/>
            <a:ext cx="5501148" cy="10409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 Engineer trying to adopt to the ever-changing IT landscape.</a:t>
            </a:r>
          </a:p>
        </p:txBody>
      </p:sp>
      <p:sp>
        <p:nvSpPr>
          <p:cNvPr id="86" name="Title 1">
            <a:extLst>
              <a:ext uri="{FF2B5EF4-FFF2-40B4-BE49-F238E27FC236}">
                <a16:creationId xmlns:a16="http://schemas.microsoft.com/office/drawing/2014/main" id="{81C6A724-0FB4-4D8E-99FB-28A176D6CD9F}"/>
              </a:ext>
            </a:extLst>
          </p:cNvPr>
          <p:cNvSpPr txBox="1">
            <a:spLocks/>
          </p:cNvSpPr>
          <p:nvPr/>
        </p:nvSpPr>
        <p:spPr>
          <a:xfrm>
            <a:off x="6233973" y="3724468"/>
            <a:ext cx="1493671" cy="19278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chnology Lead Automation</a:t>
            </a: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07DB6CF9-2821-494E-8A5D-14146280FE23}"/>
              </a:ext>
            </a:extLst>
          </p:cNvPr>
          <p:cNvSpPr txBox="1">
            <a:spLocks/>
          </p:cNvSpPr>
          <p:nvPr/>
        </p:nvSpPr>
        <p:spPr>
          <a:xfrm>
            <a:off x="8119750" y="3686060"/>
            <a:ext cx="1493671" cy="196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iner</a:t>
            </a:r>
          </a:p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aker at PowerShell UG BG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8DE727F1-8EF1-45DC-822E-56C2113332A5}"/>
              </a:ext>
            </a:extLst>
          </p:cNvPr>
          <p:cNvSpPr txBox="1">
            <a:spLocks/>
          </p:cNvSpPr>
          <p:nvPr/>
        </p:nvSpPr>
        <p:spPr>
          <a:xfrm>
            <a:off x="10005527" y="3711478"/>
            <a:ext cx="1493671" cy="19408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thub.com/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gbg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r">
              <a:lnSpc>
                <a:spcPct val="100000"/>
              </a:lnSpc>
              <a:spcAft>
                <a:spcPts val="1200"/>
              </a:spcAft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Freeform 46">
            <a:extLst>
              <a:ext uri="{FF2B5EF4-FFF2-40B4-BE49-F238E27FC236}">
                <a16:creationId xmlns:a16="http://schemas.microsoft.com/office/drawing/2014/main" id="{2B479856-F765-422E-A616-FADA65D982D6}"/>
              </a:ext>
            </a:extLst>
          </p:cNvPr>
          <p:cNvSpPr/>
          <p:nvPr/>
        </p:nvSpPr>
        <p:spPr>
          <a:xfrm>
            <a:off x="6438460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0" name="Freeform 46">
            <a:extLst>
              <a:ext uri="{FF2B5EF4-FFF2-40B4-BE49-F238E27FC236}">
                <a16:creationId xmlns:a16="http://schemas.microsoft.com/office/drawing/2014/main" id="{9EB3B54E-4E49-4BE4-AB11-6C98799D2A2D}"/>
              </a:ext>
            </a:extLst>
          </p:cNvPr>
          <p:cNvSpPr/>
          <p:nvPr/>
        </p:nvSpPr>
        <p:spPr>
          <a:xfrm>
            <a:off x="8324237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1" name="Freeform 46">
            <a:extLst>
              <a:ext uri="{FF2B5EF4-FFF2-40B4-BE49-F238E27FC236}">
                <a16:creationId xmlns:a16="http://schemas.microsoft.com/office/drawing/2014/main" id="{4A9A4972-D060-43D5-9967-ECB37C1C446D}"/>
              </a:ext>
            </a:extLst>
          </p:cNvPr>
          <p:cNvSpPr/>
          <p:nvPr/>
        </p:nvSpPr>
        <p:spPr>
          <a:xfrm>
            <a:off x="10210014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3" name="任意多边形: 形状 16">
            <a:extLst>
              <a:ext uri="{FF2B5EF4-FFF2-40B4-BE49-F238E27FC236}">
                <a16:creationId xmlns:a16="http://schemas.microsoft.com/office/drawing/2014/main" id="{D77BCD6D-3CA3-4FBA-AE6F-8FFE7AB82299}"/>
              </a:ext>
            </a:extLst>
          </p:cNvPr>
          <p:cNvSpPr/>
          <p:nvPr/>
        </p:nvSpPr>
        <p:spPr>
          <a:xfrm>
            <a:off x="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任意多边形: 形状 16">
            <a:extLst>
              <a:ext uri="{FF2B5EF4-FFF2-40B4-BE49-F238E27FC236}">
                <a16:creationId xmlns:a16="http://schemas.microsoft.com/office/drawing/2014/main" id="{DB50D6CE-7287-442B-B6AF-EAFB69B0C72D}"/>
              </a:ext>
            </a:extLst>
          </p:cNvPr>
          <p:cNvSpPr/>
          <p:nvPr/>
        </p:nvSpPr>
        <p:spPr>
          <a:xfrm>
            <a:off x="27241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任意多边形: 形状 16">
            <a:extLst>
              <a:ext uri="{FF2B5EF4-FFF2-40B4-BE49-F238E27FC236}">
                <a16:creationId xmlns:a16="http://schemas.microsoft.com/office/drawing/2014/main" id="{DA15B47E-2C18-48FE-8019-64213F8B312A}"/>
              </a:ext>
            </a:extLst>
          </p:cNvPr>
          <p:cNvSpPr/>
          <p:nvPr/>
        </p:nvSpPr>
        <p:spPr>
          <a:xfrm>
            <a:off x="54673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任意多边形: 形状 16">
            <a:extLst>
              <a:ext uri="{FF2B5EF4-FFF2-40B4-BE49-F238E27FC236}">
                <a16:creationId xmlns:a16="http://schemas.microsoft.com/office/drawing/2014/main" id="{26E91692-B844-4275-9982-FDA757730759}"/>
              </a:ext>
            </a:extLst>
          </p:cNvPr>
          <p:cNvSpPr/>
          <p:nvPr/>
        </p:nvSpPr>
        <p:spPr>
          <a:xfrm>
            <a:off x="81724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A5629178-9537-4CD9-B8A6-5A072269BDD9}"/>
              </a:ext>
            </a:extLst>
          </p:cNvPr>
          <p:cNvSpPr/>
          <p:nvPr/>
        </p:nvSpPr>
        <p:spPr>
          <a:xfrm>
            <a:off x="10915650" y="6462914"/>
            <a:ext cx="1276350" cy="464457"/>
          </a:xfrm>
          <a:custGeom>
            <a:avLst/>
            <a:gdLst>
              <a:gd name="connsiteX0" fmla="*/ 97047 w 1276350"/>
              <a:gd name="connsiteY0" fmla="*/ 0 h 464457"/>
              <a:gd name="connsiteX1" fmla="*/ 358828 w 1276350"/>
              <a:gd name="connsiteY1" fmla="*/ 0 h 464457"/>
              <a:gd name="connsiteX2" fmla="*/ 358828 w 1276350"/>
              <a:gd name="connsiteY2" fmla="*/ 111250 h 464457"/>
              <a:gd name="connsiteX3" fmla="*/ 554462 w 1276350"/>
              <a:gd name="connsiteY3" fmla="*/ 111250 h 464457"/>
              <a:gd name="connsiteX4" fmla="*/ 554462 w 1276350"/>
              <a:gd name="connsiteY4" fmla="*/ 0 h 464457"/>
              <a:gd name="connsiteX5" fmla="*/ 816244 w 1276350"/>
              <a:gd name="connsiteY5" fmla="*/ 0 h 464457"/>
              <a:gd name="connsiteX6" fmla="*/ 816244 w 1276350"/>
              <a:gd name="connsiteY6" fmla="*/ 111250 h 464457"/>
              <a:gd name="connsiteX7" fmla="*/ 1011878 w 1276350"/>
              <a:gd name="connsiteY7" fmla="*/ 111250 h 464457"/>
              <a:gd name="connsiteX8" fmla="*/ 1011878 w 1276350"/>
              <a:gd name="connsiteY8" fmla="*/ 0 h 464457"/>
              <a:gd name="connsiteX9" fmla="*/ 1273659 w 1276350"/>
              <a:gd name="connsiteY9" fmla="*/ 0 h 464457"/>
              <a:gd name="connsiteX10" fmla="*/ 1273659 w 1276350"/>
              <a:gd name="connsiteY10" fmla="*/ 111250 h 464457"/>
              <a:gd name="connsiteX11" fmla="*/ 1276350 w 1276350"/>
              <a:gd name="connsiteY11" fmla="*/ 111250 h 464457"/>
              <a:gd name="connsiteX12" fmla="*/ 1276350 w 1276350"/>
              <a:gd name="connsiteY12" fmla="*/ 464457 h 464457"/>
              <a:gd name="connsiteX13" fmla="*/ 0 w 1276350"/>
              <a:gd name="connsiteY13" fmla="*/ 464457 h 464457"/>
              <a:gd name="connsiteX14" fmla="*/ 0 w 1276350"/>
              <a:gd name="connsiteY14" fmla="*/ 111250 h 464457"/>
              <a:gd name="connsiteX15" fmla="*/ 97047 w 1276350"/>
              <a:gd name="connsiteY15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76350" h="464457">
                <a:moveTo>
                  <a:pt x="97047" y="0"/>
                </a:moveTo>
                <a:lnTo>
                  <a:pt x="358828" y="0"/>
                </a:lnTo>
                <a:lnTo>
                  <a:pt x="358828" y="111250"/>
                </a:lnTo>
                <a:lnTo>
                  <a:pt x="554462" y="111250"/>
                </a:lnTo>
                <a:lnTo>
                  <a:pt x="554462" y="0"/>
                </a:lnTo>
                <a:lnTo>
                  <a:pt x="816244" y="0"/>
                </a:lnTo>
                <a:lnTo>
                  <a:pt x="816244" y="111250"/>
                </a:lnTo>
                <a:lnTo>
                  <a:pt x="1011878" y="111250"/>
                </a:lnTo>
                <a:lnTo>
                  <a:pt x="1011878" y="0"/>
                </a:lnTo>
                <a:lnTo>
                  <a:pt x="1273659" y="0"/>
                </a:lnTo>
                <a:lnTo>
                  <a:pt x="1273659" y="111250"/>
                </a:lnTo>
                <a:lnTo>
                  <a:pt x="1276350" y="111250"/>
                </a:lnTo>
                <a:lnTo>
                  <a:pt x="1276350" y="464457"/>
                </a:lnTo>
                <a:lnTo>
                  <a:pt x="0" y="464457"/>
                </a:lnTo>
                <a:lnTo>
                  <a:pt x="0" y="111250"/>
                </a:lnTo>
                <a:lnTo>
                  <a:pt x="97047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420AC76-9596-4B0C-A95B-0353EDD00DFC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B6C789B-4CA8-45C4-BEF9-5DE898D5025A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Slide Number Placeholder 5">
            <a:extLst>
              <a:ext uri="{FF2B5EF4-FFF2-40B4-BE49-F238E27FC236}">
                <a16:creationId xmlns:a16="http://schemas.microsoft.com/office/drawing/2014/main" id="{C2E5CD9A-ACDF-417B-8034-6B5F025E2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" name="Picture 1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9D202E82-51B0-3F55-FD00-5FE0B31BFD6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71" b="30937"/>
          <a:stretch/>
        </p:blipFill>
        <p:spPr>
          <a:xfrm>
            <a:off x="102834" y="5816619"/>
            <a:ext cx="1760162" cy="658164"/>
          </a:xfrm>
          <a:prstGeom prst="rect">
            <a:avLst/>
          </a:prstGeom>
        </p:spPr>
      </p:pic>
      <p:pic>
        <p:nvPicPr>
          <p:cNvPr id="8" name="Picture 7" descr="A person in a white shirt&#10;&#10;Description automatically generated">
            <a:extLst>
              <a:ext uri="{FF2B5EF4-FFF2-40B4-BE49-F238E27FC236}">
                <a16:creationId xmlns:a16="http://schemas.microsoft.com/office/drawing/2014/main" id="{0F823281-021E-667E-724C-4AECAEF8231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8081" b="89977" l="10000" r="90000">
                        <a14:foregroundMark x1="51085" y1="8081" x2="51085" y2="8081"/>
                        <a14:foregroundMark x1="29070" y1="74281" x2="29070" y2="74281"/>
                        <a14:foregroundMark x1="28605" y1="83838" x2="28605" y2="83838"/>
                        <a14:foregroundMark x1="33488" y1="78710" x2="33488" y2="78710"/>
                        <a14:foregroundMark x1="19767" y1="89510" x2="19767" y2="89510"/>
                        <a14:foregroundMark x1="10930" y1="86791" x2="10930" y2="86791"/>
                        <a14:foregroundMark x1="32248" y1="75524" x2="32248" y2="75524"/>
                        <a14:foregroundMark x1="72171" y1="82129" x2="72171" y2="821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879" y="1566393"/>
            <a:ext cx="3931920" cy="3922776"/>
          </a:xfrm>
          <a:prstGeom prst="rect">
            <a:avLst/>
          </a:prstGeom>
        </p:spPr>
      </p:pic>
      <p:pic>
        <p:nvPicPr>
          <p:cNvPr id="2052" name="Picture 4" descr="Logo KPMG Switzerland Organization Brand, declining call ...">
            <a:extLst>
              <a:ext uri="{FF2B5EF4-FFF2-40B4-BE49-F238E27FC236}">
                <a16:creationId xmlns:a16="http://schemas.microsoft.com/office/drawing/2014/main" id="{06CE043A-9EF7-2462-F398-7DF8F929B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1913" y="2860913"/>
            <a:ext cx="997789" cy="42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2439A5F0-5BCE-5E40-A9F0-E5065D30718D}"/>
              </a:ext>
            </a:extLst>
          </p:cNvPr>
          <p:cNvSpPr/>
          <p:nvPr/>
        </p:nvSpPr>
        <p:spPr>
          <a:xfrm>
            <a:off x="8250377" y="2427607"/>
            <a:ext cx="1230377" cy="12584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89D0B1D-A7E1-9D7D-6DA7-EBB10E1AF35D}"/>
              </a:ext>
            </a:extLst>
          </p:cNvPr>
          <p:cNvSpPr/>
          <p:nvPr/>
        </p:nvSpPr>
        <p:spPr>
          <a:xfrm>
            <a:off x="8444020" y="2633253"/>
            <a:ext cx="812569" cy="817538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4" name="Picture 6" descr="99,600+ Graduation Cap Stock Photos, Pictures &amp; Royalty-Free ...">
            <a:extLst>
              <a:ext uri="{FF2B5EF4-FFF2-40B4-BE49-F238E27FC236}">
                <a16:creationId xmlns:a16="http://schemas.microsoft.com/office/drawing/2014/main" id="{C87D818B-4927-94A2-9FDE-C19502CE6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>
                        <a14:foregroundMark x1="34967" y1="53431" x2="34967" y2="5343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4804" y="2589027"/>
            <a:ext cx="971711" cy="971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B7128F9C-A68A-1DDC-5A06-9678202FBF1D}"/>
              </a:ext>
            </a:extLst>
          </p:cNvPr>
          <p:cNvSpPr/>
          <p:nvPr/>
        </p:nvSpPr>
        <p:spPr>
          <a:xfrm>
            <a:off x="10138446" y="2371255"/>
            <a:ext cx="1230377" cy="12584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25D8A7E-3B2B-8746-3559-5360CFAA6CEF}"/>
              </a:ext>
            </a:extLst>
          </p:cNvPr>
          <p:cNvSpPr/>
          <p:nvPr/>
        </p:nvSpPr>
        <p:spPr>
          <a:xfrm>
            <a:off x="10332089" y="2576901"/>
            <a:ext cx="812569" cy="817538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311DB92-1F11-3210-AF6C-709877910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0261" y="2657715"/>
            <a:ext cx="696223" cy="696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Printable Country Flag of Bulgaria - Circle | Vector Country Flags of the  World">
            <a:extLst>
              <a:ext uri="{FF2B5EF4-FFF2-40B4-BE49-F238E27FC236}">
                <a16:creationId xmlns:a16="http://schemas.microsoft.com/office/drawing/2014/main" id="{66390B4E-3626-9565-CE16-ED0B0A7A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038" y="4779327"/>
            <a:ext cx="1001423" cy="1001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CAB5B630-0EB5-285F-091A-B88A9274DE54}"/>
              </a:ext>
            </a:extLst>
          </p:cNvPr>
          <p:cNvSpPr/>
          <p:nvPr/>
        </p:nvSpPr>
        <p:spPr>
          <a:xfrm>
            <a:off x="4026038" y="4779327"/>
            <a:ext cx="998623" cy="1001423"/>
          </a:xfrm>
          <a:prstGeom prst="ellipse">
            <a:avLst/>
          </a:prstGeom>
          <a:noFill/>
          <a:ln w="25400">
            <a:solidFill>
              <a:srgbClr val="FFD1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9140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16286F52-393A-56B8-9D59-8DF52C2CAA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68278655"/>
              </p:ext>
            </p:extLst>
          </p:nvPr>
        </p:nvGraphicFramePr>
        <p:xfrm>
          <a:off x="563563" y="1825625"/>
          <a:ext cx="11064875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726C135-4F9E-3469-FEDF-3180B1451DAF}"/>
              </a:ext>
            </a:extLst>
          </p:cNvPr>
          <p:cNvSpPr/>
          <p:nvPr/>
        </p:nvSpPr>
        <p:spPr>
          <a:xfrm>
            <a:off x="207122" y="215979"/>
            <a:ext cx="9841445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1184596" y="396696"/>
            <a:ext cx="6907351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genda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12" name="Picture 11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6CDE0A9-8289-2401-EED3-4A7A169BD7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566" y="2308763"/>
            <a:ext cx="1002185" cy="1002185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C2D5996-3B9C-5C0A-3E22-785B111BDDDE}"/>
              </a:ext>
            </a:extLst>
          </p:cNvPr>
          <p:cNvGrpSpPr/>
          <p:nvPr/>
        </p:nvGrpSpPr>
        <p:grpSpPr>
          <a:xfrm>
            <a:off x="455973" y="521423"/>
            <a:ext cx="603235" cy="603235"/>
            <a:chOff x="-94496" y="1430104"/>
            <a:chExt cx="603235" cy="60323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6E775A1-4B8E-07F7-4E98-5DCED5B03C52}"/>
                </a:ext>
              </a:extLst>
            </p:cNvPr>
            <p:cNvSpPr/>
            <p:nvPr/>
          </p:nvSpPr>
          <p:spPr>
            <a:xfrm>
              <a:off x="-94496" y="1430104"/>
              <a:ext cx="603235" cy="603235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50915E9-3C95-311B-BFC4-43F8C1D6A9AA}"/>
                </a:ext>
              </a:extLst>
            </p:cNvPr>
            <p:cNvGrpSpPr/>
            <p:nvPr/>
          </p:nvGrpSpPr>
          <p:grpSpPr>
            <a:xfrm>
              <a:off x="77236" y="1601835"/>
              <a:ext cx="259771" cy="259772"/>
              <a:chOff x="6773863" y="639763"/>
              <a:chExt cx="771525" cy="771526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20" name="Freeform 54">
                <a:extLst>
                  <a:ext uri="{FF2B5EF4-FFF2-40B4-BE49-F238E27FC236}">
                    <a16:creationId xmlns:a16="http://schemas.microsoft.com/office/drawing/2014/main" id="{C87E9EF9-D2AC-BBA2-8F3F-627DAFEA4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771525" cy="147638"/>
              </a:xfrm>
              <a:custGeom>
                <a:avLst/>
                <a:gdLst>
                  <a:gd name="T0" fmla="*/ 204 w 204"/>
                  <a:gd name="T1" fmla="*/ 39 h 39"/>
                  <a:gd name="T2" fmla="*/ 0 w 204"/>
                  <a:gd name="T3" fmla="*/ 39 h 39"/>
                  <a:gd name="T4" fmla="*/ 0 w 204"/>
                  <a:gd name="T5" fmla="*/ 20 h 39"/>
                  <a:gd name="T6" fmla="*/ 19 w 204"/>
                  <a:gd name="T7" fmla="*/ 0 h 39"/>
                  <a:gd name="T8" fmla="*/ 185 w 204"/>
                  <a:gd name="T9" fmla="*/ 0 h 39"/>
                  <a:gd name="T10" fmla="*/ 204 w 204"/>
                  <a:gd name="T11" fmla="*/ 20 h 39"/>
                  <a:gd name="T12" fmla="*/ 204 w 204"/>
                  <a:gd name="T1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39">
                    <a:moveTo>
                      <a:pt x="204" y="39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8" y="0"/>
                      <a:pt x="19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96" y="0"/>
                      <a:pt x="204" y="9"/>
                      <a:pt x="204" y="20"/>
                    </a:cubicBezTo>
                    <a:lnTo>
                      <a:pt x="204" y="39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" name="Freeform 55">
                <a:extLst>
                  <a:ext uri="{FF2B5EF4-FFF2-40B4-BE49-F238E27FC236}">
                    <a16:creationId xmlns:a16="http://schemas.microsoft.com/office/drawing/2014/main" id="{7E563941-AEF1-263A-29F9-4BD83D62D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355600" cy="147638"/>
              </a:xfrm>
              <a:custGeom>
                <a:avLst/>
                <a:gdLst>
                  <a:gd name="T0" fmla="*/ 94 w 94"/>
                  <a:gd name="T1" fmla="*/ 0 h 39"/>
                  <a:gd name="T2" fmla="*/ 19 w 94"/>
                  <a:gd name="T3" fmla="*/ 0 h 39"/>
                  <a:gd name="T4" fmla="*/ 0 w 94"/>
                  <a:gd name="T5" fmla="*/ 20 h 39"/>
                  <a:gd name="T6" fmla="*/ 0 w 94"/>
                  <a:gd name="T7" fmla="*/ 39 h 39"/>
                  <a:gd name="T8" fmla="*/ 55 w 94"/>
                  <a:gd name="T9" fmla="*/ 39 h 39"/>
                  <a:gd name="T10" fmla="*/ 94 w 94"/>
                  <a:gd name="T1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39">
                    <a:moveTo>
                      <a:pt x="94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9"/>
                      <a:pt x="0" y="2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5" y="39"/>
                      <a:pt x="55" y="39"/>
                      <a:pt x="55" y="39"/>
                    </a:cubicBez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" name="Freeform 56">
                <a:extLst>
                  <a:ext uri="{FF2B5EF4-FFF2-40B4-BE49-F238E27FC236}">
                    <a16:creationId xmlns:a16="http://schemas.microsoft.com/office/drawing/2014/main" id="{97B7D2A6-F712-93C4-A396-6C6897C36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831851"/>
                <a:ext cx="771525" cy="579438"/>
              </a:xfrm>
              <a:custGeom>
                <a:avLst/>
                <a:gdLst>
                  <a:gd name="T0" fmla="*/ 204 w 204"/>
                  <a:gd name="T1" fmla="*/ 134 h 153"/>
                  <a:gd name="T2" fmla="*/ 185 w 204"/>
                  <a:gd name="T3" fmla="*/ 153 h 153"/>
                  <a:gd name="T4" fmla="*/ 19 w 204"/>
                  <a:gd name="T5" fmla="*/ 153 h 153"/>
                  <a:gd name="T6" fmla="*/ 0 w 204"/>
                  <a:gd name="T7" fmla="*/ 134 h 153"/>
                  <a:gd name="T8" fmla="*/ 0 w 204"/>
                  <a:gd name="T9" fmla="*/ 0 h 153"/>
                  <a:gd name="T10" fmla="*/ 204 w 204"/>
                  <a:gd name="T11" fmla="*/ 0 h 153"/>
                  <a:gd name="T12" fmla="*/ 204 w 204"/>
                  <a:gd name="T13" fmla="*/ 13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53">
                    <a:moveTo>
                      <a:pt x="204" y="134"/>
                    </a:moveTo>
                    <a:cubicBezTo>
                      <a:pt x="204" y="145"/>
                      <a:pt x="196" y="153"/>
                      <a:pt x="185" y="153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8" y="153"/>
                      <a:pt x="0" y="145"/>
                      <a:pt x="0" y="13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04" y="0"/>
                      <a:pt x="204" y="0"/>
                      <a:pt x="204" y="0"/>
                    </a:cubicBezTo>
                    <a:lnTo>
                      <a:pt x="204" y="1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" name="Rectangle 57">
                <a:extLst>
                  <a:ext uri="{FF2B5EF4-FFF2-40B4-BE49-F238E27FC236}">
                    <a16:creationId xmlns:a16="http://schemas.microsoft.com/office/drawing/2014/main" id="{9AAB2837-0538-4CA8-7281-362CD01B3E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38976" y="927101"/>
                <a:ext cx="120650" cy="109538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" name="Rectangle 58">
                <a:extLst>
                  <a:ext uri="{FF2B5EF4-FFF2-40B4-BE49-F238E27FC236}">
                    <a16:creationId xmlns:a16="http://schemas.microsoft.com/office/drawing/2014/main" id="{E554DD74-B78B-FB28-F57B-11C7275B0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" name="Rectangle 59">
                <a:extLst>
                  <a:ext uri="{FF2B5EF4-FFF2-40B4-BE49-F238E27FC236}">
                    <a16:creationId xmlns:a16="http://schemas.microsoft.com/office/drawing/2014/main" id="{5472C4A9-3314-DEF2-7678-C15121211B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063626"/>
                <a:ext cx="122238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" name="Rectangle 60">
                <a:extLst>
                  <a:ext uri="{FF2B5EF4-FFF2-40B4-BE49-F238E27FC236}">
                    <a16:creationId xmlns:a16="http://schemas.microsoft.com/office/drawing/2014/main" id="{A8B23927-3E0C-BA90-3B85-9DC543F031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927101"/>
                <a:ext cx="131763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" name="Rectangle 61">
                <a:extLst>
                  <a:ext uri="{FF2B5EF4-FFF2-40B4-BE49-F238E27FC236}">
                    <a16:creationId xmlns:a16="http://schemas.microsoft.com/office/drawing/2014/main" id="{E8C34FE9-9932-4526-AB09-8642334A0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927101"/>
                <a:ext cx="122238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" name="Rectangle 62">
                <a:extLst>
                  <a:ext uri="{FF2B5EF4-FFF2-40B4-BE49-F238E27FC236}">
                    <a16:creationId xmlns:a16="http://schemas.microsoft.com/office/drawing/2014/main" id="{72049148-93AD-E35E-29F8-793A216AF9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195388"/>
                <a:ext cx="122238" cy="120650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" name="Rectangle 63">
                <a:extLst>
                  <a:ext uri="{FF2B5EF4-FFF2-40B4-BE49-F238E27FC236}">
                    <a16:creationId xmlns:a16="http://schemas.microsoft.com/office/drawing/2014/main" id="{A2DACD6A-9953-7E8C-B27A-C43A9A68F3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" name="Rectangle 64">
                <a:extLst>
                  <a:ext uri="{FF2B5EF4-FFF2-40B4-BE49-F238E27FC236}">
                    <a16:creationId xmlns:a16="http://schemas.microsoft.com/office/drawing/2014/main" id="{9AB09F63-EEA3-6C18-FE5C-B01E5B8E67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927101"/>
                <a:ext cx="120650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" name="Rectangle 65">
                <a:extLst>
                  <a:ext uri="{FF2B5EF4-FFF2-40B4-BE49-F238E27FC236}">
                    <a16:creationId xmlns:a16="http://schemas.microsoft.com/office/drawing/2014/main" id="{1C717480-1896-E268-B2FE-918018F16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" name="Rectangle 66">
                <a:extLst>
                  <a:ext uri="{FF2B5EF4-FFF2-40B4-BE49-F238E27FC236}">
                    <a16:creationId xmlns:a16="http://schemas.microsoft.com/office/drawing/2014/main" id="{3AF85582-ADA3-5AE1-12E3-D2DE39993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063626"/>
                <a:ext cx="131763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" name="Rectangle 67">
                <a:extLst>
                  <a:ext uri="{FF2B5EF4-FFF2-40B4-BE49-F238E27FC236}">
                    <a16:creationId xmlns:a16="http://schemas.microsoft.com/office/drawing/2014/main" id="{7AA6BC08-875F-68CA-FBAA-4628E02CF5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195388"/>
                <a:ext cx="131763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" name="Rectangle 68">
                <a:extLst>
                  <a:ext uri="{FF2B5EF4-FFF2-40B4-BE49-F238E27FC236}">
                    <a16:creationId xmlns:a16="http://schemas.microsoft.com/office/drawing/2014/main" id="{F6C51207-39C7-1B17-2E5B-B4A5BF5BEA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69">
                <a:extLst>
                  <a:ext uri="{FF2B5EF4-FFF2-40B4-BE49-F238E27FC236}">
                    <a16:creationId xmlns:a16="http://schemas.microsoft.com/office/drawing/2014/main" id="{DA631E0E-3EB6-3022-A547-27A8E9E08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9113" y="639763"/>
                <a:ext cx="71438" cy="142875"/>
              </a:xfrm>
              <a:custGeom>
                <a:avLst/>
                <a:gdLst>
                  <a:gd name="T0" fmla="*/ 19 w 19"/>
                  <a:gd name="T1" fmla="*/ 28 h 38"/>
                  <a:gd name="T2" fmla="*/ 10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10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" name="Freeform 70">
                <a:extLst>
                  <a:ext uri="{FF2B5EF4-FFF2-40B4-BE49-F238E27FC236}">
                    <a16:creationId xmlns:a16="http://schemas.microsoft.com/office/drawing/2014/main" id="{05369B66-5C24-D858-CD2B-1C1146DE3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8701" y="639763"/>
                <a:ext cx="73025" cy="142875"/>
              </a:xfrm>
              <a:custGeom>
                <a:avLst/>
                <a:gdLst>
                  <a:gd name="T0" fmla="*/ 19 w 19"/>
                  <a:gd name="T1" fmla="*/ 28 h 38"/>
                  <a:gd name="T2" fmla="*/ 9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9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4" y="38"/>
                      <a:pt x="9" y="38"/>
                    </a:cubicBezTo>
                    <a:cubicBezTo>
                      <a:pt x="4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4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71">
                <a:extLst>
                  <a:ext uri="{FF2B5EF4-FFF2-40B4-BE49-F238E27FC236}">
                    <a16:creationId xmlns:a16="http://schemas.microsoft.com/office/drawing/2014/main" id="{3994FAE4-6FCC-35BD-05A7-2DDC50DA0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1526" y="639763"/>
                <a:ext cx="76200" cy="142875"/>
              </a:xfrm>
              <a:custGeom>
                <a:avLst/>
                <a:gdLst>
                  <a:gd name="T0" fmla="*/ 20 w 20"/>
                  <a:gd name="T1" fmla="*/ 28 h 38"/>
                  <a:gd name="T2" fmla="*/ 10 w 20"/>
                  <a:gd name="T3" fmla="*/ 38 h 38"/>
                  <a:gd name="T4" fmla="*/ 0 w 20"/>
                  <a:gd name="T5" fmla="*/ 28 h 38"/>
                  <a:gd name="T6" fmla="*/ 0 w 20"/>
                  <a:gd name="T7" fmla="*/ 9 h 38"/>
                  <a:gd name="T8" fmla="*/ 10 w 20"/>
                  <a:gd name="T9" fmla="*/ 0 h 38"/>
                  <a:gd name="T10" fmla="*/ 20 w 20"/>
                  <a:gd name="T11" fmla="*/ 9 h 38"/>
                  <a:gd name="T12" fmla="*/ 20 w 20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8">
                    <a:moveTo>
                      <a:pt x="20" y="28"/>
                    </a:moveTo>
                    <a:cubicBezTo>
                      <a:pt x="20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20" y="4"/>
                      <a:pt x="20" y="9"/>
                    </a:cubicBezTo>
                    <a:lnTo>
                      <a:pt x="20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4121E792-6E9C-7E3E-2924-F3B9F4387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287" y="2390755"/>
            <a:ext cx="733425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C55D861-7F4B-70B4-1C51-F32D3DFB8F7F}"/>
              </a:ext>
            </a:extLst>
          </p:cNvPr>
          <p:cNvGrpSpPr/>
          <p:nvPr/>
        </p:nvGrpSpPr>
        <p:grpSpPr>
          <a:xfrm>
            <a:off x="9506124" y="2487092"/>
            <a:ext cx="663402" cy="645525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" name="Freeform 231">
              <a:extLst>
                <a:ext uri="{FF2B5EF4-FFF2-40B4-BE49-F238E27FC236}">
                  <a16:creationId xmlns:a16="http://schemas.microsoft.com/office/drawing/2014/main" id="{85A83BC8-E841-AB73-5397-C71D8B20C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" name="Freeform 232">
              <a:extLst>
                <a:ext uri="{FF2B5EF4-FFF2-40B4-BE49-F238E27FC236}">
                  <a16:creationId xmlns:a16="http://schemas.microsoft.com/office/drawing/2014/main" id="{F358C8B6-BE0E-A206-EC7A-6291C561F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Freeform 233">
              <a:extLst>
                <a:ext uri="{FF2B5EF4-FFF2-40B4-BE49-F238E27FC236}">
                  <a16:creationId xmlns:a16="http://schemas.microsoft.com/office/drawing/2014/main" id="{5A1D3B53-84C9-538E-B8C0-372214414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Oval 234">
              <a:extLst>
                <a:ext uri="{FF2B5EF4-FFF2-40B4-BE49-F238E27FC236}">
                  <a16:creationId xmlns:a16="http://schemas.microsoft.com/office/drawing/2014/main" id="{690020CC-4A78-22F4-4301-70BD51944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235">
              <a:extLst>
                <a:ext uri="{FF2B5EF4-FFF2-40B4-BE49-F238E27FC236}">
                  <a16:creationId xmlns:a16="http://schemas.microsoft.com/office/drawing/2014/main" id="{0F0A0849-E8AD-1E41-699D-77267D6CA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0327043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E15372F-A310-4894-8B2B-1A1EE82FE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E15372F-A310-4894-8B2B-1A1EE82FE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3E364BE8-496B-4633-BEC3-0A40D71E80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349FD3F9-DC84-4A73-BED3-A236F8E0C2C6}"/>
              </a:ext>
            </a:extLst>
          </p:cNvPr>
          <p:cNvSpPr/>
          <p:nvPr/>
        </p:nvSpPr>
        <p:spPr>
          <a:xfrm rot="10800000" flipV="1">
            <a:off x="-19967" y="2630437"/>
            <a:ext cx="694731" cy="464457"/>
          </a:xfrm>
          <a:custGeom>
            <a:avLst/>
            <a:gdLst>
              <a:gd name="connsiteX0" fmla="*/ 694731 w 694731"/>
              <a:gd name="connsiteY0" fmla="*/ 0 h 464457"/>
              <a:gd name="connsiteX1" fmla="*/ 451057 w 694731"/>
              <a:gd name="connsiteY1" fmla="*/ 0 h 464457"/>
              <a:gd name="connsiteX2" fmla="*/ 451057 w 694731"/>
              <a:gd name="connsiteY2" fmla="*/ 111250 h 464457"/>
              <a:gd name="connsiteX3" fmla="*/ 255423 w 694731"/>
              <a:gd name="connsiteY3" fmla="*/ 111250 h 464457"/>
              <a:gd name="connsiteX4" fmla="*/ 255423 w 694731"/>
              <a:gd name="connsiteY4" fmla="*/ 0 h 464457"/>
              <a:gd name="connsiteX5" fmla="*/ 0 w 694731"/>
              <a:gd name="connsiteY5" fmla="*/ 0 h 464457"/>
              <a:gd name="connsiteX6" fmla="*/ 0 w 694731"/>
              <a:gd name="connsiteY6" fmla="*/ 464457 h 464457"/>
              <a:gd name="connsiteX7" fmla="*/ 694731 w 694731"/>
              <a:gd name="connsiteY7" fmla="*/ 464457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4731" h="464457">
                <a:moveTo>
                  <a:pt x="694731" y="0"/>
                </a:moveTo>
                <a:lnTo>
                  <a:pt x="451057" y="0"/>
                </a:lnTo>
                <a:lnTo>
                  <a:pt x="451057" y="111250"/>
                </a:lnTo>
                <a:lnTo>
                  <a:pt x="255423" y="111250"/>
                </a:lnTo>
                <a:lnTo>
                  <a:pt x="255423" y="0"/>
                </a:lnTo>
                <a:lnTo>
                  <a:pt x="0" y="0"/>
                </a:lnTo>
                <a:lnTo>
                  <a:pt x="0" y="464457"/>
                </a:lnTo>
                <a:lnTo>
                  <a:pt x="694731" y="4644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0" name="任意多边形: 形状 16">
            <a:extLst>
              <a:ext uri="{FF2B5EF4-FFF2-40B4-BE49-F238E27FC236}">
                <a16:creationId xmlns:a16="http://schemas.microsoft.com/office/drawing/2014/main" id="{0FEFBEE3-7AF0-490D-BB53-6BBF98A961CF}"/>
              </a:ext>
            </a:extLst>
          </p:cNvPr>
          <p:cNvSpPr/>
          <p:nvPr/>
        </p:nvSpPr>
        <p:spPr>
          <a:xfrm rot="10800000" flipV="1">
            <a:off x="57654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6B631B2A-1690-4EE2-B011-3F13865E13EE}"/>
              </a:ext>
            </a:extLst>
          </p:cNvPr>
          <p:cNvSpPr/>
          <p:nvPr/>
        </p:nvSpPr>
        <p:spPr>
          <a:xfrm rot="10800000" flipV="1">
            <a:off x="321120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任意多边形: 形状 16">
            <a:extLst>
              <a:ext uri="{FF2B5EF4-FFF2-40B4-BE49-F238E27FC236}">
                <a16:creationId xmlns:a16="http://schemas.microsoft.com/office/drawing/2014/main" id="{BE65E9F0-2838-4190-870F-2C6B35DDA60C}"/>
              </a:ext>
            </a:extLst>
          </p:cNvPr>
          <p:cNvSpPr/>
          <p:nvPr/>
        </p:nvSpPr>
        <p:spPr>
          <a:xfrm rot="10800000" flipV="1">
            <a:off x="3064074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任意多边形: 形状 16">
            <a:extLst>
              <a:ext uri="{FF2B5EF4-FFF2-40B4-BE49-F238E27FC236}">
                <a16:creationId xmlns:a16="http://schemas.microsoft.com/office/drawing/2014/main" id="{6B97B1F0-25B3-462E-88DF-8B2070379EEA}"/>
              </a:ext>
            </a:extLst>
          </p:cNvPr>
          <p:cNvSpPr/>
          <p:nvPr/>
        </p:nvSpPr>
        <p:spPr>
          <a:xfrm rot="10800000" flipV="1">
            <a:off x="85086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E6ED7A61-6F78-4015-909C-D27BCC38227F}"/>
              </a:ext>
            </a:extLst>
          </p:cNvPr>
          <p:cNvSpPr/>
          <p:nvPr/>
        </p:nvSpPr>
        <p:spPr>
          <a:xfrm rot="10800000" flipV="1">
            <a:off x="11239954" y="2626495"/>
            <a:ext cx="946182" cy="464457"/>
          </a:xfrm>
          <a:custGeom>
            <a:avLst/>
            <a:gdLst>
              <a:gd name="connsiteX0" fmla="*/ 849135 w 946182"/>
              <a:gd name="connsiteY0" fmla="*/ 0 h 464457"/>
              <a:gd name="connsiteX1" fmla="*/ 587352 w 946182"/>
              <a:gd name="connsiteY1" fmla="*/ 0 h 464457"/>
              <a:gd name="connsiteX2" fmla="*/ 587352 w 946182"/>
              <a:gd name="connsiteY2" fmla="*/ 111250 h 464457"/>
              <a:gd name="connsiteX3" fmla="*/ 391718 w 946182"/>
              <a:gd name="connsiteY3" fmla="*/ 111250 h 464457"/>
              <a:gd name="connsiteX4" fmla="*/ 391718 w 946182"/>
              <a:gd name="connsiteY4" fmla="*/ 0 h 464457"/>
              <a:gd name="connsiteX5" fmla="*/ 129937 w 946182"/>
              <a:gd name="connsiteY5" fmla="*/ 0 h 464457"/>
              <a:gd name="connsiteX6" fmla="*/ 129937 w 946182"/>
              <a:gd name="connsiteY6" fmla="*/ 111250 h 464457"/>
              <a:gd name="connsiteX7" fmla="*/ 0 w 946182"/>
              <a:gd name="connsiteY7" fmla="*/ 111250 h 464457"/>
              <a:gd name="connsiteX8" fmla="*/ 0 w 946182"/>
              <a:gd name="connsiteY8" fmla="*/ 464457 h 464457"/>
              <a:gd name="connsiteX9" fmla="*/ 946182 w 946182"/>
              <a:gd name="connsiteY9" fmla="*/ 464457 h 464457"/>
              <a:gd name="connsiteX10" fmla="*/ 946182 w 946182"/>
              <a:gd name="connsiteY10" fmla="*/ 111250 h 464457"/>
              <a:gd name="connsiteX11" fmla="*/ 849135 w 946182"/>
              <a:gd name="connsiteY11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6182" h="464457">
                <a:moveTo>
                  <a:pt x="849135" y="0"/>
                </a:moveTo>
                <a:lnTo>
                  <a:pt x="587352" y="0"/>
                </a:lnTo>
                <a:lnTo>
                  <a:pt x="587352" y="111250"/>
                </a:lnTo>
                <a:lnTo>
                  <a:pt x="391718" y="111250"/>
                </a:lnTo>
                <a:lnTo>
                  <a:pt x="391718" y="0"/>
                </a:lnTo>
                <a:lnTo>
                  <a:pt x="129937" y="0"/>
                </a:lnTo>
                <a:lnTo>
                  <a:pt x="129937" y="111250"/>
                </a:lnTo>
                <a:lnTo>
                  <a:pt x="0" y="111250"/>
                </a:lnTo>
                <a:lnTo>
                  <a:pt x="0" y="464457"/>
                </a:lnTo>
                <a:lnTo>
                  <a:pt x="946182" y="464457"/>
                </a:lnTo>
                <a:lnTo>
                  <a:pt x="946182" y="111250"/>
                </a:lnTo>
                <a:lnTo>
                  <a:pt x="849135" y="1112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8" name="任意多边形: 形状 16">
            <a:extLst>
              <a:ext uri="{FF2B5EF4-FFF2-40B4-BE49-F238E27FC236}">
                <a16:creationId xmlns:a16="http://schemas.microsoft.com/office/drawing/2014/main" id="{A6E7D73F-7439-4315-BC15-E9F21A50B59A}"/>
              </a:ext>
            </a:extLst>
          </p:cNvPr>
          <p:cNvSpPr/>
          <p:nvPr/>
        </p:nvSpPr>
        <p:spPr>
          <a:xfrm rot="10800000" flipV="1">
            <a:off x="54443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Rectángulo 6175">
            <a:extLst>
              <a:ext uri="{FF2B5EF4-FFF2-40B4-BE49-F238E27FC236}">
                <a16:creationId xmlns:a16="http://schemas.microsoft.com/office/drawing/2014/main" id="{3E1C264C-AB4A-4713-BD6B-ABBAC94717DB}"/>
              </a:ext>
            </a:extLst>
          </p:cNvPr>
          <p:cNvSpPr/>
          <p:nvPr/>
        </p:nvSpPr>
        <p:spPr>
          <a:xfrm flipV="1">
            <a:off x="0" y="3206461"/>
            <a:ext cx="12214702" cy="3651537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任意多边形: 形状 16">
            <a:extLst>
              <a:ext uri="{FF2B5EF4-FFF2-40B4-BE49-F238E27FC236}">
                <a16:creationId xmlns:a16="http://schemas.microsoft.com/office/drawing/2014/main" id="{E5F8DEC1-17B5-4EAE-A7D1-EDBACCA3C167}"/>
              </a:ext>
            </a:extLst>
          </p:cNvPr>
          <p:cNvSpPr/>
          <p:nvPr/>
        </p:nvSpPr>
        <p:spPr>
          <a:xfrm rot="10800000" flipV="1">
            <a:off x="0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任意多边形: 形状 16">
            <a:extLst>
              <a:ext uri="{FF2B5EF4-FFF2-40B4-BE49-F238E27FC236}">
                <a16:creationId xmlns:a16="http://schemas.microsoft.com/office/drawing/2014/main" id="{D086114E-AA56-48E5-9300-EECFF6CFCBA1}"/>
              </a:ext>
            </a:extLst>
          </p:cNvPr>
          <p:cNvSpPr/>
          <p:nvPr/>
        </p:nvSpPr>
        <p:spPr>
          <a:xfrm rot="10800000" flipV="1">
            <a:off x="2742954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任意多边形: 形状 16">
            <a:extLst>
              <a:ext uri="{FF2B5EF4-FFF2-40B4-BE49-F238E27FC236}">
                <a16:creationId xmlns:a16="http://schemas.microsoft.com/office/drawing/2014/main" id="{0C5C06E9-5DFB-42F6-9EF1-493697F0A768}"/>
              </a:ext>
            </a:extLst>
          </p:cNvPr>
          <p:cNvSpPr/>
          <p:nvPr/>
        </p:nvSpPr>
        <p:spPr>
          <a:xfrm rot="10800000" flipV="1">
            <a:off x="5441451" y="312530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任意多边形: 形状 16">
            <a:extLst>
              <a:ext uri="{FF2B5EF4-FFF2-40B4-BE49-F238E27FC236}">
                <a16:creationId xmlns:a16="http://schemas.microsoft.com/office/drawing/2014/main" id="{08CDC0EC-4E2B-4A7D-B160-C8239387B211}"/>
              </a:ext>
            </a:extLst>
          </p:cNvPr>
          <p:cNvSpPr/>
          <p:nvPr/>
        </p:nvSpPr>
        <p:spPr>
          <a:xfrm rot="10800000" flipV="1">
            <a:off x="81875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8" name="Picture 47" descr="A picture containing toy, holding, hand, sitting&#10;&#10;Description automatically generated">
            <a:extLst>
              <a:ext uri="{FF2B5EF4-FFF2-40B4-BE49-F238E27FC236}">
                <a16:creationId xmlns:a16="http://schemas.microsoft.com/office/drawing/2014/main" id="{8342ADBD-F89A-4970-8BCA-BC2A5CC771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273" y="2366406"/>
            <a:ext cx="1423113" cy="1505673"/>
          </a:xfrm>
          <a:custGeom>
            <a:avLst/>
            <a:gdLst>
              <a:gd name="connsiteX0" fmla="*/ 0 w 2329921"/>
              <a:gd name="connsiteY0" fmla="*/ 0 h 2465089"/>
              <a:gd name="connsiteX1" fmla="*/ 2329921 w 2329921"/>
              <a:gd name="connsiteY1" fmla="*/ 0 h 2465089"/>
              <a:gd name="connsiteX2" fmla="*/ 2329921 w 2329921"/>
              <a:gd name="connsiteY2" fmla="*/ 2465089 h 2465089"/>
              <a:gd name="connsiteX3" fmla="*/ 1233769 w 2329921"/>
              <a:gd name="connsiteY3" fmla="*/ 2465089 h 2465089"/>
              <a:gd name="connsiteX4" fmla="*/ 1265313 w 2329921"/>
              <a:gd name="connsiteY4" fmla="*/ 2356487 h 2465089"/>
              <a:gd name="connsiteX5" fmla="*/ 573271 w 2329921"/>
              <a:gd name="connsiteY5" fmla="*/ 2155477 h 2465089"/>
              <a:gd name="connsiteX6" fmla="*/ 498157 w 2329921"/>
              <a:gd name="connsiteY6" fmla="*/ 2414081 h 2465089"/>
              <a:gd name="connsiteX7" fmla="*/ 673769 w 2329921"/>
              <a:gd name="connsiteY7" fmla="*/ 2465089 h 2465089"/>
              <a:gd name="connsiteX8" fmla="*/ 0 w 2329921"/>
              <a:gd name="connsiteY8" fmla="*/ 2465089 h 2465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9921" h="2465089">
                <a:moveTo>
                  <a:pt x="0" y="0"/>
                </a:moveTo>
                <a:lnTo>
                  <a:pt x="2329921" y="0"/>
                </a:lnTo>
                <a:lnTo>
                  <a:pt x="2329921" y="2465089"/>
                </a:lnTo>
                <a:lnTo>
                  <a:pt x="1233769" y="2465089"/>
                </a:lnTo>
                <a:lnTo>
                  <a:pt x="1265313" y="2356487"/>
                </a:lnTo>
                <a:lnTo>
                  <a:pt x="573271" y="2155477"/>
                </a:lnTo>
                <a:lnTo>
                  <a:pt x="498157" y="2414081"/>
                </a:lnTo>
                <a:lnTo>
                  <a:pt x="673769" y="2465089"/>
                </a:lnTo>
                <a:lnTo>
                  <a:pt x="0" y="2465089"/>
                </a:lnTo>
                <a:close/>
              </a:path>
            </a:pathLst>
          </a:cu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079C9D7-A3FD-4FCE-943A-3611E02F6B6F}"/>
              </a:ext>
            </a:extLst>
          </p:cNvPr>
          <p:cNvSpPr/>
          <p:nvPr/>
        </p:nvSpPr>
        <p:spPr>
          <a:xfrm rot="10800000" flipV="1">
            <a:off x="10918834" y="281650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BC5290-C9F3-4341-B952-571D46EC029F}"/>
              </a:ext>
            </a:extLst>
          </p:cNvPr>
          <p:cNvSpPr/>
          <p:nvPr/>
        </p:nvSpPr>
        <p:spPr>
          <a:xfrm>
            <a:off x="4258541" y="1606206"/>
            <a:ext cx="3674916" cy="3674916"/>
          </a:xfrm>
          <a:prstGeom prst="ellipse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301C1E10-D9D8-47B6-BFB9-7E68FF9363DF}"/>
              </a:ext>
            </a:extLst>
          </p:cNvPr>
          <p:cNvSpPr/>
          <p:nvPr/>
        </p:nvSpPr>
        <p:spPr>
          <a:xfrm>
            <a:off x="4417853" y="1765518"/>
            <a:ext cx="3356292" cy="3356292"/>
          </a:xfrm>
          <a:prstGeom prst="arc">
            <a:avLst>
              <a:gd name="adj1" fmla="val 13787735"/>
              <a:gd name="adj2" fmla="val 13601526"/>
            </a:avLst>
          </a:prstGeom>
          <a:ln>
            <a:solidFill>
              <a:schemeClr val="bg1"/>
            </a:solidFill>
            <a:prstDash val="lg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FF4FB6E-5C3C-4DAB-A94B-F78575F74CC8}"/>
              </a:ext>
            </a:extLst>
          </p:cNvPr>
          <p:cNvSpPr/>
          <p:nvPr/>
        </p:nvSpPr>
        <p:spPr>
          <a:xfrm>
            <a:off x="4690913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7BFD0E-B353-4B3D-B28B-5CD5F820D612}"/>
              </a:ext>
            </a:extLst>
          </p:cNvPr>
          <p:cNvSpPr/>
          <p:nvPr/>
        </p:nvSpPr>
        <p:spPr>
          <a:xfrm>
            <a:off x="4818168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6E732C1-2C67-4A83-94BE-81415B7B698F}"/>
              </a:ext>
            </a:extLst>
          </p:cNvPr>
          <p:cNvSpPr txBox="1">
            <a:spLocks/>
          </p:cNvSpPr>
          <p:nvPr/>
        </p:nvSpPr>
        <p:spPr>
          <a:xfrm>
            <a:off x="7664434" y="1782727"/>
            <a:ext cx="3852800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examples are simplified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4949708-1650-46EE-9E1D-BBA238AAD0CE}"/>
              </a:ext>
            </a:extLst>
          </p:cNvPr>
          <p:cNvSpPr txBox="1">
            <a:spLocks/>
          </p:cNvSpPr>
          <p:nvPr/>
        </p:nvSpPr>
        <p:spPr>
          <a:xfrm>
            <a:off x="536924" y="1782727"/>
            <a:ext cx="403555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are the different applications of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C279A15-1654-4B6A-AE1D-361055EC0A6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3DB4256-7448-4972-9F80-1BD157CBCA6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Slide Number Placeholder 5">
            <a:extLst>
              <a:ext uri="{FF2B5EF4-FFF2-40B4-BE49-F238E27FC236}">
                <a16:creationId xmlns:a16="http://schemas.microsoft.com/office/drawing/2014/main" id="{A36D2C64-E862-41F9-852C-629BCA744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BA15F9D-4331-4374-A364-C11B0541B759}"/>
              </a:ext>
            </a:extLst>
          </p:cNvPr>
          <p:cNvSpPr/>
          <p:nvPr/>
        </p:nvSpPr>
        <p:spPr>
          <a:xfrm>
            <a:off x="3919362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F9B74F9-B214-4166-94BF-D78D47C49676}"/>
              </a:ext>
            </a:extLst>
          </p:cNvPr>
          <p:cNvSpPr/>
          <p:nvPr/>
        </p:nvSpPr>
        <p:spPr>
          <a:xfrm>
            <a:off x="4046617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FFF07C2-0348-4664-8027-CF14908CCD17}"/>
              </a:ext>
            </a:extLst>
          </p:cNvPr>
          <p:cNvSpPr/>
          <p:nvPr/>
        </p:nvSpPr>
        <p:spPr>
          <a:xfrm>
            <a:off x="4690913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A126409-DE66-464B-A320-867D50D33803}"/>
              </a:ext>
            </a:extLst>
          </p:cNvPr>
          <p:cNvSpPr/>
          <p:nvPr/>
        </p:nvSpPr>
        <p:spPr>
          <a:xfrm>
            <a:off x="4818168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FC49095-8A1A-46E8-A6B5-3FC53F72A978}"/>
              </a:ext>
            </a:extLst>
          </p:cNvPr>
          <p:cNvSpPr/>
          <p:nvPr/>
        </p:nvSpPr>
        <p:spPr>
          <a:xfrm>
            <a:off x="6738060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42473E8-C861-4A32-9077-AB0C59822302}"/>
              </a:ext>
            </a:extLst>
          </p:cNvPr>
          <p:cNvSpPr/>
          <p:nvPr/>
        </p:nvSpPr>
        <p:spPr>
          <a:xfrm>
            <a:off x="6865315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8986C12-DF18-4F74-AC7C-23AB1768DA3D}"/>
              </a:ext>
            </a:extLst>
          </p:cNvPr>
          <p:cNvSpPr/>
          <p:nvPr/>
        </p:nvSpPr>
        <p:spPr>
          <a:xfrm>
            <a:off x="6738060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0FB141A-431C-4C15-807E-E64F7BBDBEDF}"/>
              </a:ext>
            </a:extLst>
          </p:cNvPr>
          <p:cNvSpPr/>
          <p:nvPr/>
        </p:nvSpPr>
        <p:spPr>
          <a:xfrm>
            <a:off x="6865315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6F7454E-E007-40CE-B514-92E0964900AA}"/>
              </a:ext>
            </a:extLst>
          </p:cNvPr>
          <p:cNvSpPr/>
          <p:nvPr/>
        </p:nvSpPr>
        <p:spPr>
          <a:xfrm>
            <a:off x="7469730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3907421-8C19-4C67-A2E6-38A2FA0CEB3E}"/>
              </a:ext>
            </a:extLst>
          </p:cNvPr>
          <p:cNvSpPr/>
          <p:nvPr/>
        </p:nvSpPr>
        <p:spPr>
          <a:xfrm>
            <a:off x="7596985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8CB062A2-EF5E-4F6B-AEED-58A1A5EBE2BE}"/>
              </a:ext>
            </a:extLst>
          </p:cNvPr>
          <p:cNvSpPr txBox="1">
            <a:spLocks/>
          </p:cNvSpPr>
          <p:nvPr/>
        </p:nvSpPr>
        <p:spPr>
          <a:xfrm>
            <a:off x="8393175" y="3243227"/>
            <a:ext cx="285840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~ 28 slides and ~ 5 demos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7295709-0295-482F-A07E-40FF05549F66}"/>
              </a:ext>
            </a:extLst>
          </p:cNvPr>
          <p:cNvSpPr txBox="1">
            <a:spLocks/>
          </p:cNvSpPr>
          <p:nvPr/>
        </p:nvSpPr>
        <p:spPr>
          <a:xfrm>
            <a:off x="5864" y="3243227"/>
            <a:ext cx="3785226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organization size/model matters</a:t>
            </a: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45B8D857-A9C5-4F00-B990-951D6E5A400A}"/>
              </a:ext>
            </a:extLst>
          </p:cNvPr>
          <p:cNvSpPr txBox="1">
            <a:spLocks/>
          </p:cNvSpPr>
          <p:nvPr/>
        </p:nvSpPr>
        <p:spPr>
          <a:xfrm>
            <a:off x="7664433" y="4695374"/>
            <a:ext cx="3144815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ed on stories in Azure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5935D29-AC8D-4F44-971A-8BC019DC40F3}"/>
              </a:ext>
            </a:extLst>
          </p:cNvPr>
          <p:cNvSpPr txBox="1">
            <a:spLocks/>
          </p:cNvSpPr>
          <p:nvPr/>
        </p:nvSpPr>
        <p:spPr>
          <a:xfrm>
            <a:off x="738593" y="4695374"/>
            <a:ext cx="383388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Azure Template Specs can help</a:t>
            </a: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A08418F9-6F30-4C82-A2EB-3403D86EA3B9}"/>
              </a:ext>
            </a:extLst>
          </p:cNvPr>
          <p:cNvSpPr txBox="1">
            <a:spLocks/>
          </p:cNvSpPr>
          <p:nvPr/>
        </p:nvSpPr>
        <p:spPr>
          <a:xfrm>
            <a:off x="564241" y="5692731"/>
            <a:ext cx="11120213" cy="44023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might work for one organization might not for others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0FD2AE3-0CAB-4B12-A131-DD6D003F7B2F}"/>
              </a:ext>
            </a:extLst>
          </p:cNvPr>
          <p:cNvGrpSpPr/>
          <p:nvPr/>
        </p:nvGrpSpPr>
        <p:grpSpPr>
          <a:xfrm>
            <a:off x="4942108" y="4745144"/>
            <a:ext cx="300516" cy="284604"/>
            <a:chOff x="2805113" y="2247901"/>
            <a:chExt cx="779462" cy="7381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2" name="Freeform 78">
              <a:extLst>
                <a:ext uri="{FF2B5EF4-FFF2-40B4-BE49-F238E27FC236}">
                  <a16:creationId xmlns:a16="http://schemas.microsoft.com/office/drawing/2014/main" id="{3C3AC2C3-9006-44F3-B7A3-A6943808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79">
              <a:extLst>
                <a:ext uri="{FF2B5EF4-FFF2-40B4-BE49-F238E27FC236}">
                  <a16:creationId xmlns:a16="http://schemas.microsoft.com/office/drawing/2014/main" id="{9D3586C4-0006-4426-95B2-8B47798BC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80">
              <a:extLst>
                <a:ext uri="{FF2B5EF4-FFF2-40B4-BE49-F238E27FC236}">
                  <a16:creationId xmlns:a16="http://schemas.microsoft.com/office/drawing/2014/main" id="{F3616695-DD00-4ABB-9D93-4BE373457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758549E5-4612-483E-B004-F59D9A066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82">
              <a:extLst>
                <a:ext uri="{FF2B5EF4-FFF2-40B4-BE49-F238E27FC236}">
                  <a16:creationId xmlns:a16="http://schemas.microsoft.com/office/drawing/2014/main" id="{09DD0D24-7E89-4D87-B270-89F2D0556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83">
              <a:extLst>
                <a:ext uri="{FF2B5EF4-FFF2-40B4-BE49-F238E27FC236}">
                  <a16:creationId xmlns:a16="http://schemas.microsoft.com/office/drawing/2014/main" id="{61F95C9E-CDD3-471F-BFAC-006DB824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84">
              <a:extLst>
                <a:ext uri="{FF2B5EF4-FFF2-40B4-BE49-F238E27FC236}">
                  <a16:creationId xmlns:a16="http://schemas.microsoft.com/office/drawing/2014/main" id="{1FD0E707-DFE1-4529-932D-AE6A70931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308C843F-1B54-401E-8E06-7BFCFA39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86">
              <a:extLst>
                <a:ext uri="{FF2B5EF4-FFF2-40B4-BE49-F238E27FC236}">
                  <a16:creationId xmlns:a16="http://schemas.microsoft.com/office/drawing/2014/main" id="{2CF67A8A-309F-4A5A-B561-F4BD99374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87">
              <a:extLst>
                <a:ext uri="{FF2B5EF4-FFF2-40B4-BE49-F238E27FC236}">
                  <a16:creationId xmlns:a16="http://schemas.microsoft.com/office/drawing/2014/main" id="{74D4F353-CD22-42A3-BEC8-43FFA6B08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88">
              <a:extLst>
                <a:ext uri="{FF2B5EF4-FFF2-40B4-BE49-F238E27FC236}">
                  <a16:creationId xmlns:a16="http://schemas.microsoft.com/office/drawing/2014/main" id="{44F29EAF-762D-4BD0-AA60-105C12F2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89">
              <a:extLst>
                <a:ext uri="{FF2B5EF4-FFF2-40B4-BE49-F238E27FC236}">
                  <a16:creationId xmlns:a16="http://schemas.microsoft.com/office/drawing/2014/main" id="{FDCA81E2-577A-49B1-9C05-AE100D687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298EAC9-F076-42F7-A0FE-288E076763B0}"/>
              </a:ext>
            </a:extLst>
          </p:cNvPr>
          <p:cNvGrpSpPr/>
          <p:nvPr/>
        </p:nvGrpSpPr>
        <p:grpSpPr>
          <a:xfrm>
            <a:off x="7722149" y="3294630"/>
            <a:ext cx="298068" cy="298068"/>
            <a:chOff x="10375900" y="3867150"/>
            <a:chExt cx="773113" cy="77311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6" name="Freeform 132">
              <a:extLst>
                <a:ext uri="{FF2B5EF4-FFF2-40B4-BE49-F238E27FC236}">
                  <a16:creationId xmlns:a16="http://schemas.microsoft.com/office/drawing/2014/main" id="{4744675E-EF17-4957-91DF-97CAB121B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75900" y="3867150"/>
              <a:ext cx="773113" cy="773113"/>
            </a:xfrm>
            <a:custGeom>
              <a:avLst/>
              <a:gdLst>
                <a:gd name="T0" fmla="*/ 78 w 204"/>
                <a:gd name="T1" fmla="*/ 170 h 204"/>
                <a:gd name="T2" fmla="*/ 73 w 204"/>
                <a:gd name="T3" fmla="*/ 177 h 204"/>
                <a:gd name="T4" fmla="*/ 38 w 204"/>
                <a:gd name="T5" fmla="*/ 169 h 204"/>
                <a:gd name="T6" fmla="*/ 31 w 204"/>
                <a:gd name="T7" fmla="*/ 135 h 204"/>
                <a:gd name="T8" fmla="*/ 37 w 204"/>
                <a:gd name="T9" fmla="*/ 129 h 204"/>
                <a:gd name="T10" fmla="*/ 46 w 204"/>
                <a:gd name="T11" fmla="*/ 131 h 204"/>
                <a:gd name="T12" fmla="*/ 76 w 204"/>
                <a:gd name="T13" fmla="*/ 161 h 204"/>
                <a:gd name="T14" fmla="*/ 78 w 204"/>
                <a:gd name="T15" fmla="*/ 170 h 204"/>
                <a:gd name="T16" fmla="*/ 166 w 204"/>
                <a:gd name="T17" fmla="*/ 0 h 204"/>
                <a:gd name="T18" fmla="*/ 85 w 204"/>
                <a:gd name="T19" fmla="*/ 80 h 204"/>
                <a:gd name="T20" fmla="*/ 64 w 204"/>
                <a:gd name="T21" fmla="*/ 76 h 204"/>
                <a:gd name="T22" fmla="*/ 0 w 204"/>
                <a:gd name="T23" fmla="*/ 140 h 204"/>
                <a:gd name="T24" fmla="*/ 64 w 204"/>
                <a:gd name="T25" fmla="*/ 204 h 204"/>
                <a:gd name="T26" fmla="*/ 128 w 204"/>
                <a:gd name="T27" fmla="*/ 140 h 204"/>
                <a:gd name="T28" fmla="*/ 124 w 204"/>
                <a:gd name="T29" fmla="*/ 119 h 204"/>
                <a:gd name="T30" fmla="*/ 128 w 204"/>
                <a:gd name="T31" fmla="*/ 115 h 204"/>
                <a:gd name="T32" fmla="*/ 128 w 204"/>
                <a:gd name="T33" fmla="*/ 89 h 204"/>
                <a:gd name="T34" fmla="*/ 153 w 204"/>
                <a:gd name="T35" fmla="*/ 89 h 204"/>
                <a:gd name="T36" fmla="*/ 153 w 204"/>
                <a:gd name="T37" fmla="*/ 64 h 204"/>
                <a:gd name="T38" fmla="*/ 179 w 204"/>
                <a:gd name="T39" fmla="*/ 64 h 204"/>
                <a:gd name="T40" fmla="*/ 179 w 204"/>
                <a:gd name="T41" fmla="*/ 38 h 204"/>
                <a:gd name="T42" fmla="*/ 204 w 204"/>
                <a:gd name="T43" fmla="*/ 38 h 204"/>
                <a:gd name="T44" fmla="*/ 204 w 204"/>
                <a:gd name="T45" fmla="*/ 0 h 204"/>
                <a:gd name="T46" fmla="*/ 166 w 204"/>
                <a:gd name="T47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4" h="204">
                  <a:moveTo>
                    <a:pt x="78" y="170"/>
                  </a:moveTo>
                  <a:cubicBezTo>
                    <a:pt x="78" y="173"/>
                    <a:pt x="76" y="175"/>
                    <a:pt x="73" y="177"/>
                  </a:cubicBezTo>
                  <a:cubicBezTo>
                    <a:pt x="61" y="181"/>
                    <a:pt x="47" y="179"/>
                    <a:pt x="38" y="169"/>
                  </a:cubicBezTo>
                  <a:cubicBezTo>
                    <a:pt x="29" y="160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8" y="164"/>
                    <a:pt x="79" y="167"/>
                    <a:pt x="78" y="170"/>
                  </a:cubicBezTo>
                  <a:close/>
                  <a:moveTo>
                    <a:pt x="166" y="0"/>
                  </a:move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76"/>
                    <a:pt x="28" y="204"/>
                    <a:pt x="64" y="204"/>
                  </a:cubicBezTo>
                  <a:cubicBezTo>
                    <a:pt x="99" y="204"/>
                    <a:pt x="128" y="176"/>
                    <a:pt x="128" y="140"/>
                  </a:cubicBezTo>
                  <a:cubicBezTo>
                    <a:pt x="128" y="133"/>
                    <a:pt x="126" y="125"/>
                    <a:pt x="124" y="119"/>
                  </a:cubicBezTo>
                  <a:cubicBezTo>
                    <a:pt x="128" y="115"/>
                    <a:pt x="128" y="115"/>
                    <a:pt x="128" y="115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79" y="64"/>
                    <a:pt x="179" y="64"/>
                    <a:pt x="179" y="64"/>
                  </a:cubicBezTo>
                  <a:cubicBezTo>
                    <a:pt x="179" y="38"/>
                    <a:pt x="179" y="38"/>
                    <a:pt x="179" y="38"/>
                  </a:cubicBezTo>
                  <a:cubicBezTo>
                    <a:pt x="204" y="38"/>
                    <a:pt x="204" y="38"/>
                    <a:pt x="204" y="38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166" y="0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133">
              <a:extLst>
                <a:ext uri="{FF2B5EF4-FFF2-40B4-BE49-F238E27FC236}">
                  <a16:creationId xmlns:a16="http://schemas.microsoft.com/office/drawing/2014/main" id="{F0A77843-0454-417A-B2AB-A2886CBFF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5900" y="3867150"/>
              <a:ext cx="773113" cy="708025"/>
            </a:xfrm>
            <a:custGeom>
              <a:avLst/>
              <a:gdLst>
                <a:gd name="T0" fmla="*/ 204 w 204"/>
                <a:gd name="T1" fmla="*/ 0 h 187"/>
                <a:gd name="T2" fmla="*/ 166 w 204"/>
                <a:gd name="T3" fmla="*/ 0 h 187"/>
                <a:gd name="T4" fmla="*/ 85 w 204"/>
                <a:gd name="T5" fmla="*/ 80 h 187"/>
                <a:gd name="T6" fmla="*/ 64 w 204"/>
                <a:gd name="T7" fmla="*/ 76 h 187"/>
                <a:gd name="T8" fmla="*/ 0 w 204"/>
                <a:gd name="T9" fmla="*/ 140 h 187"/>
                <a:gd name="T10" fmla="*/ 20 w 204"/>
                <a:gd name="T11" fmla="*/ 187 h 187"/>
                <a:gd name="T12" fmla="*/ 37 w 204"/>
                <a:gd name="T13" fmla="*/ 169 h 187"/>
                <a:gd name="T14" fmla="*/ 31 w 204"/>
                <a:gd name="T15" fmla="*/ 135 h 187"/>
                <a:gd name="T16" fmla="*/ 37 w 204"/>
                <a:gd name="T17" fmla="*/ 129 h 187"/>
                <a:gd name="T18" fmla="*/ 46 w 204"/>
                <a:gd name="T19" fmla="*/ 131 h 187"/>
                <a:gd name="T20" fmla="*/ 60 w 204"/>
                <a:gd name="T21" fmla="*/ 146 h 187"/>
                <a:gd name="T22" fmla="*/ 204 w 204"/>
                <a:gd name="T23" fmla="*/ 2 h 187"/>
                <a:gd name="T24" fmla="*/ 204 w 204"/>
                <a:gd name="T2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87">
                  <a:moveTo>
                    <a:pt x="204" y="0"/>
                  </a:moveTo>
                  <a:cubicBezTo>
                    <a:pt x="166" y="0"/>
                    <a:pt x="166" y="0"/>
                    <a:pt x="166" y="0"/>
                  </a:cubicBez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59"/>
                    <a:pt x="7" y="175"/>
                    <a:pt x="20" y="187"/>
                  </a:cubicBezTo>
                  <a:cubicBezTo>
                    <a:pt x="37" y="169"/>
                    <a:pt x="37" y="169"/>
                    <a:pt x="37" y="169"/>
                  </a:cubicBezTo>
                  <a:cubicBezTo>
                    <a:pt x="28" y="159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204" y="2"/>
                    <a:pt x="204" y="2"/>
                    <a:pt x="204" y="2"/>
                  </a:cubicBezTo>
                  <a:lnTo>
                    <a:pt x="20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134">
              <a:extLst>
                <a:ext uri="{FF2B5EF4-FFF2-40B4-BE49-F238E27FC236}">
                  <a16:creationId xmlns:a16="http://schemas.microsoft.com/office/drawing/2014/main" id="{AAF5E31C-F000-4AB4-8D6B-2CBF6D397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5313" y="3889375"/>
              <a:ext cx="322263" cy="300038"/>
            </a:xfrm>
            <a:custGeom>
              <a:avLst/>
              <a:gdLst>
                <a:gd name="T0" fmla="*/ 2 w 85"/>
                <a:gd name="T1" fmla="*/ 77 h 79"/>
                <a:gd name="T2" fmla="*/ 2 w 85"/>
                <a:gd name="T3" fmla="*/ 70 h 79"/>
                <a:gd name="T4" fmla="*/ 72 w 85"/>
                <a:gd name="T5" fmla="*/ 0 h 79"/>
                <a:gd name="T6" fmla="*/ 85 w 85"/>
                <a:gd name="T7" fmla="*/ 0 h 79"/>
                <a:gd name="T8" fmla="*/ 8 w 85"/>
                <a:gd name="T9" fmla="*/ 77 h 79"/>
                <a:gd name="T10" fmla="*/ 2 w 85"/>
                <a:gd name="T1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9">
                  <a:moveTo>
                    <a:pt x="2" y="77"/>
                  </a:moveTo>
                  <a:cubicBezTo>
                    <a:pt x="0" y="75"/>
                    <a:pt x="0" y="72"/>
                    <a:pt x="2" y="7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7" y="79"/>
                    <a:pt x="4" y="79"/>
                    <a:pt x="2" y="77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E2895F4-869D-463D-AA9B-43000072DB66}"/>
              </a:ext>
            </a:extLst>
          </p:cNvPr>
          <p:cNvGrpSpPr/>
          <p:nvPr/>
        </p:nvGrpSpPr>
        <p:grpSpPr>
          <a:xfrm>
            <a:off x="6989255" y="1906667"/>
            <a:ext cx="300516" cy="300516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1" name="Freeform 231">
              <a:extLst>
                <a:ext uri="{FF2B5EF4-FFF2-40B4-BE49-F238E27FC236}">
                  <a16:creationId xmlns:a16="http://schemas.microsoft.com/office/drawing/2014/main" id="{4024316C-220A-4C4B-AE24-55C540998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Freeform 232">
              <a:extLst>
                <a:ext uri="{FF2B5EF4-FFF2-40B4-BE49-F238E27FC236}">
                  <a16:creationId xmlns:a16="http://schemas.microsoft.com/office/drawing/2014/main" id="{BA5AC4CB-F20F-4EED-9BC9-8A1BEBFA7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233">
              <a:extLst>
                <a:ext uri="{FF2B5EF4-FFF2-40B4-BE49-F238E27FC236}">
                  <a16:creationId xmlns:a16="http://schemas.microsoft.com/office/drawing/2014/main" id="{297E7ED0-9D64-4707-B43B-98D8C08BA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Oval 234">
              <a:extLst>
                <a:ext uri="{FF2B5EF4-FFF2-40B4-BE49-F238E27FC236}">
                  <a16:creationId xmlns:a16="http://schemas.microsoft.com/office/drawing/2014/main" id="{176AF9CC-6AB0-43E3-8D97-D53561015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235">
              <a:extLst>
                <a:ext uri="{FF2B5EF4-FFF2-40B4-BE49-F238E27FC236}">
                  <a16:creationId xmlns:a16="http://schemas.microsoft.com/office/drawing/2014/main" id="{2DAED2D0-C874-4B79-82E4-191A9985F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35B869ED-FC31-E7B7-6E4A-A05A8BA4C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9" y="2214366"/>
            <a:ext cx="2618689" cy="2691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4BD853B-6134-4A63-86FE-E2CB0B88D5EE}"/>
              </a:ext>
            </a:extLst>
          </p:cNvPr>
          <p:cNvGrpSpPr/>
          <p:nvPr/>
        </p:nvGrpSpPr>
        <p:grpSpPr>
          <a:xfrm>
            <a:off x="4172087" y="3294627"/>
            <a:ext cx="297457" cy="298074"/>
            <a:chOff x="8347096" y="2216191"/>
            <a:chExt cx="771526" cy="773127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8" name="Freeform 98">
              <a:extLst>
                <a:ext uri="{FF2B5EF4-FFF2-40B4-BE49-F238E27FC236}">
                  <a16:creationId xmlns:a16="http://schemas.microsoft.com/office/drawing/2014/main" id="{D1B14280-FD6D-4910-8682-15CEDF235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46" y="2409870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7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99">
              <a:extLst>
                <a:ext uri="{FF2B5EF4-FFF2-40B4-BE49-F238E27FC236}">
                  <a16:creationId xmlns:a16="http://schemas.microsoft.com/office/drawing/2014/main" id="{6FC608FF-9416-43B6-A111-721D6CFEA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47" y="2409870"/>
              <a:ext cx="142875" cy="120652"/>
            </a:xfrm>
            <a:custGeom>
              <a:avLst/>
              <a:gdLst>
                <a:gd name="T0" fmla="*/ 0 w 38"/>
                <a:gd name="T1" fmla="*/ 0 h 32"/>
                <a:gd name="T2" fmla="*/ 0 w 38"/>
                <a:gd name="T3" fmla="*/ 23 h 32"/>
                <a:gd name="T4" fmla="*/ 9 w 38"/>
                <a:gd name="T5" fmla="*/ 32 h 32"/>
                <a:gd name="T6" fmla="*/ 38 w 3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4" y="32"/>
                    <a:pt x="9" y="32"/>
                  </a:cubicBezTo>
                  <a:cubicBezTo>
                    <a:pt x="38" y="32"/>
                    <a:pt x="38" y="32"/>
                    <a:pt x="38" y="32"/>
                  </a:cubicBezTo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100">
              <a:extLst>
                <a:ext uri="{FF2B5EF4-FFF2-40B4-BE49-F238E27FC236}">
                  <a16:creationId xmlns:a16="http://schemas.microsoft.com/office/drawing/2014/main" id="{44DF7B3B-18C0-47B8-9085-4788105B4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552747"/>
              <a:ext cx="131763" cy="26988"/>
            </a:xfrm>
            <a:custGeom>
              <a:avLst/>
              <a:gdLst>
                <a:gd name="T0" fmla="*/ 35 w 35"/>
                <a:gd name="T1" fmla="*/ 3 h 7"/>
                <a:gd name="T2" fmla="*/ 32 w 35"/>
                <a:gd name="T3" fmla="*/ 7 h 7"/>
                <a:gd name="T4" fmla="*/ 3 w 35"/>
                <a:gd name="T5" fmla="*/ 7 h 7"/>
                <a:gd name="T6" fmla="*/ 0 w 35"/>
                <a:gd name="T7" fmla="*/ 3 h 7"/>
                <a:gd name="T8" fmla="*/ 3 w 35"/>
                <a:gd name="T9" fmla="*/ 0 h 7"/>
                <a:gd name="T10" fmla="*/ 32 w 35"/>
                <a:gd name="T11" fmla="*/ 0 h 7"/>
                <a:gd name="T12" fmla="*/ 35 w 35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7">
                  <a:moveTo>
                    <a:pt x="35" y="3"/>
                  </a:moveTo>
                  <a:cubicBezTo>
                    <a:pt x="35" y="5"/>
                    <a:pt x="33" y="7"/>
                    <a:pt x="3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5" y="2"/>
                    <a:pt x="35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101">
              <a:extLst>
                <a:ext uri="{FF2B5EF4-FFF2-40B4-BE49-F238E27FC236}">
                  <a16:creationId xmlns:a16="http://schemas.microsoft.com/office/drawing/2014/main" id="{4366E66B-5EFF-464D-A497-3D6BE944B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651174"/>
              <a:ext cx="276226" cy="23813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Freeform 102">
              <a:extLst>
                <a:ext uri="{FF2B5EF4-FFF2-40B4-BE49-F238E27FC236}">
                  <a16:creationId xmlns:a16="http://schemas.microsoft.com/office/drawing/2014/main" id="{3F3019FC-0AD6-4BBC-ADB4-05B2761C1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746426"/>
              <a:ext cx="276226" cy="26988"/>
            </a:xfrm>
            <a:custGeom>
              <a:avLst/>
              <a:gdLst>
                <a:gd name="T0" fmla="*/ 73 w 73"/>
                <a:gd name="T1" fmla="*/ 4 h 7"/>
                <a:gd name="T2" fmla="*/ 70 w 73"/>
                <a:gd name="T3" fmla="*/ 7 h 7"/>
                <a:gd name="T4" fmla="*/ 3 w 73"/>
                <a:gd name="T5" fmla="*/ 7 h 7"/>
                <a:gd name="T6" fmla="*/ 0 w 73"/>
                <a:gd name="T7" fmla="*/ 4 h 7"/>
                <a:gd name="T8" fmla="*/ 3 w 73"/>
                <a:gd name="T9" fmla="*/ 0 h 7"/>
                <a:gd name="T10" fmla="*/ 70 w 73"/>
                <a:gd name="T11" fmla="*/ 0 h 7"/>
                <a:gd name="T12" fmla="*/ 73 w 7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7">
                  <a:moveTo>
                    <a:pt x="73" y="4"/>
                  </a:moveTo>
                  <a:cubicBezTo>
                    <a:pt x="73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2"/>
                    <a:pt x="73" y="4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Freeform 103">
              <a:extLst>
                <a:ext uri="{FF2B5EF4-FFF2-40B4-BE49-F238E27FC236}">
                  <a16:creationId xmlns:a16="http://schemas.microsoft.com/office/drawing/2014/main" id="{CCD74C9C-CA16-4131-A253-28AB572DC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844853"/>
              <a:ext cx="276226" cy="22225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104">
              <a:extLst>
                <a:ext uri="{FF2B5EF4-FFF2-40B4-BE49-F238E27FC236}">
                  <a16:creationId xmlns:a16="http://schemas.microsoft.com/office/drawing/2014/main" id="{EFF72B99-23E8-4299-98BA-8C6684B15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7096" y="2216191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6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EF83E240-EADB-46C5-B193-96613F2A0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4434" y="2216191"/>
              <a:ext cx="147638" cy="120652"/>
            </a:xfrm>
            <a:custGeom>
              <a:avLst/>
              <a:gdLst>
                <a:gd name="T0" fmla="*/ 0 w 39"/>
                <a:gd name="T1" fmla="*/ 0 h 32"/>
                <a:gd name="T2" fmla="*/ 0 w 39"/>
                <a:gd name="T3" fmla="*/ 23 h 32"/>
                <a:gd name="T4" fmla="*/ 10 w 39"/>
                <a:gd name="T5" fmla="*/ 32 h 32"/>
                <a:gd name="T6" fmla="*/ 39 w 39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5" y="32"/>
                    <a:pt x="10" y="32"/>
                  </a:cubicBezTo>
                  <a:cubicBezTo>
                    <a:pt x="39" y="32"/>
                    <a:pt x="39" y="32"/>
                    <a:pt x="39" y="32"/>
                  </a:cubicBezTo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F4160EAD-CDC5-4532-B187-B290FB5CC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360656"/>
              <a:ext cx="131763" cy="22225"/>
            </a:xfrm>
            <a:custGeom>
              <a:avLst/>
              <a:gdLst>
                <a:gd name="T0" fmla="*/ 35 w 35"/>
                <a:gd name="T1" fmla="*/ 3 h 6"/>
                <a:gd name="T2" fmla="*/ 32 w 35"/>
                <a:gd name="T3" fmla="*/ 6 h 6"/>
                <a:gd name="T4" fmla="*/ 3 w 35"/>
                <a:gd name="T5" fmla="*/ 6 h 6"/>
                <a:gd name="T6" fmla="*/ 0 w 35"/>
                <a:gd name="T7" fmla="*/ 3 h 6"/>
                <a:gd name="T8" fmla="*/ 3 w 35"/>
                <a:gd name="T9" fmla="*/ 0 h 6"/>
                <a:gd name="T10" fmla="*/ 32 w 35"/>
                <a:gd name="T11" fmla="*/ 0 h 6"/>
                <a:gd name="T12" fmla="*/ 35 w 3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6">
                  <a:moveTo>
                    <a:pt x="35" y="3"/>
                  </a:moveTo>
                  <a:cubicBezTo>
                    <a:pt x="35" y="5"/>
                    <a:pt x="34" y="6"/>
                    <a:pt x="3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1"/>
                    <a:pt x="35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7" name="Freeform 107">
              <a:extLst>
                <a:ext uri="{FF2B5EF4-FFF2-40B4-BE49-F238E27FC236}">
                  <a16:creationId xmlns:a16="http://schemas.microsoft.com/office/drawing/2014/main" id="{AC6F67CD-2CE5-4A3F-A2A4-3475CDC47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459083"/>
              <a:ext cx="279401" cy="22225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8" name="Freeform 108">
              <a:extLst>
                <a:ext uri="{FF2B5EF4-FFF2-40B4-BE49-F238E27FC236}">
                  <a16:creationId xmlns:a16="http://schemas.microsoft.com/office/drawing/2014/main" id="{B78BCEA5-FA49-46AF-A3A9-52FF835C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552747"/>
              <a:ext cx="279401" cy="26988"/>
            </a:xfrm>
            <a:custGeom>
              <a:avLst/>
              <a:gdLst>
                <a:gd name="T0" fmla="*/ 74 w 74"/>
                <a:gd name="T1" fmla="*/ 3 h 7"/>
                <a:gd name="T2" fmla="*/ 70 w 74"/>
                <a:gd name="T3" fmla="*/ 7 h 7"/>
                <a:gd name="T4" fmla="*/ 3 w 74"/>
                <a:gd name="T5" fmla="*/ 7 h 7"/>
                <a:gd name="T6" fmla="*/ 0 w 74"/>
                <a:gd name="T7" fmla="*/ 3 h 7"/>
                <a:gd name="T8" fmla="*/ 3 w 74"/>
                <a:gd name="T9" fmla="*/ 0 h 7"/>
                <a:gd name="T10" fmla="*/ 70 w 74"/>
                <a:gd name="T11" fmla="*/ 0 h 7"/>
                <a:gd name="T12" fmla="*/ 74 w 74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7">
                  <a:moveTo>
                    <a:pt x="74" y="3"/>
                  </a:moveTo>
                  <a:cubicBezTo>
                    <a:pt x="74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Freeform 109">
              <a:extLst>
                <a:ext uri="{FF2B5EF4-FFF2-40B4-BE49-F238E27FC236}">
                  <a16:creationId xmlns:a16="http://schemas.microsoft.com/office/drawing/2014/main" id="{E319D93C-5926-4B80-A03A-D064A314E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651174"/>
              <a:ext cx="279401" cy="23813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CAE2D2C-1B54-46BC-BEE5-39F718F1304A}"/>
              </a:ext>
            </a:extLst>
          </p:cNvPr>
          <p:cNvGrpSpPr/>
          <p:nvPr/>
        </p:nvGrpSpPr>
        <p:grpSpPr>
          <a:xfrm>
            <a:off x="6997824" y="4737799"/>
            <a:ext cx="283378" cy="299294"/>
            <a:chOff x="4686300" y="2212975"/>
            <a:chExt cx="735013" cy="7762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32" name="Freeform 103">
              <a:extLst>
                <a:ext uri="{FF2B5EF4-FFF2-40B4-BE49-F238E27FC236}">
                  <a16:creationId xmlns:a16="http://schemas.microsoft.com/office/drawing/2014/main" id="{E6310E47-CAAA-40AB-906D-1CBAE7015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6300" y="2224088"/>
              <a:ext cx="735013" cy="765175"/>
            </a:xfrm>
            <a:custGeom>
              <a:avLst/>
              <a:gdLst>
                <a:gd name="T0" fmla="*/ 463 w 463"/>
                <a:gd name="T1" fmla="*/ 305 h 482"/>
                <a:gd name="T2" fmla="*/ 391 w 463"/>
                <a:gd name="T3" fmla="*/ 0 h 482"/>
                <a:gd name="T4" fmla="*/ 0 w 463"/>
                <a:gd name="T5" fmla="*/ 90 h 482"/>
                <a:gd name="T6" fmla="*/ 93 w 463"/>
                <a:gd name="T7" fmla="*/ 482 h 482"/>
                <a:gd name="T8" fmla="*/ 398 w 463"/>
                <a:gd name="T9" fmla="*/ 410 h 482"/>
                <a:gd name="T10" fmla="*/ 463 w 463"/>
                <a:gd name="T11" fmla="*/ 30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3" h="482">
                  <a:moveTo>
                    <a:pt x="463" y="305"/>
                  </a:moveTo>
                  <a:lnTo>
                    <a:pt x="391" y="0"/>
                  </a:lnTo>
                  <a:lnTo>
                    <a:pt x="0" y="90"/>
                  </a:lnTo>
                  <a:lnTo>
                    <a:pt x="93" y="482"/>
                  </a:lnTo>
                  <a:lnTo>
                    <a:pt x="398" y="410"/>
                  </a:lnTo>
                  <a:lnTo>
                    <a:pt x="463" y="305"/>
                  </a:lnTo>
                  <a:close/>
                </a:path>
              </a:pathLst>
            </a:custGeom>
            <a:solidFill>
              <a:srgbClr val="FBEC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Freeform 104">
              <a:extLst>
                <a:ext uri="{FF2B5EF4-FFF2-40B4-BE49-F238E27FC236}">
                  <a16:creationId xmlns:a16="http://schemas.microsoft.com/office/drawing/2014/main" id="{25B04500-8346-42EE-ACDA-EFCA432F4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63" y="2708275"/>
              <a:ext cx="133350" cy="163513"/>
            </a:xfrm>
            <a:custGeom>
              <a:avLst/>
              <a:gdLst>
                <a:gd name="T0" fmla="*/ 84 w 84"/>
                <a:gd name="T1" fmla="*/ 0 h 103"/>
                <a:gd name="T2" fmla="*/ 22 w 84"/>
                <a:gd name="T3" fmla="*/ 103 h 103"/>
                <a:gd name="T4" fmla="*/ 0 w 84"/>
                <a:gd name="T5" fmla="*/ 19 h 103"/>
                <a:gd name="T6" fmla="*/ 84 w 84"/>
                <a:gd name="T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03">
                  <a:moveTo>
                    <a:pt x="84" y="0"/>
                  </a:moveTo>
                  <a:lnTo>
                    <a:pt x="22" y="103"/>
                  </a:lnTo>
                  <a:lnTo>
                    <a:pt x="0" y="19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105">
              <a:extLst>
                <a:ext uri="{FF2B5EF4-FFF2-40B4-BE49-F238E27FC236}">
                  <a16:creationId xmlns:a16="http://schemas.microsoft.com/office/drawing/2014/main" id="{999BE749-28C2-4049-940A-0CC79261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2492375"/>
              <a:ext cx="377825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7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7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106">
              <a:extLst>
                <a:ext uri="{FF2B5EF4-FFF2-40B4-BE49-F238E27FC236}">
                  <a16:creationId xmlns:a16="http://schemas.microsoft.com/office/drawing/2014/main" id="{B02CD025-24FB-42D4-B5A7-A90ACD80A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100" y="2587625"/>
              <a:ext cx="379413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6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6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Freeform 107">
              <a:extLst>
                <a:ext uri="{FF2B5EF4-FFF2-40B4-BE49-F238E27FC236}">
                  <a16:creationId xmlns:a16="http://schemas.microsoft.com/office/drawing/2014/main" id="{05A39CC2-3646-4A8D-8E35-F7C5CFE44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325" y="2705100"/>
              <a:ext cx="284163" cy="87313"/>
            </a:xfrm>
            <a:custGeom>
              <a:avLst/>
              <a:gdLst>
                <a:gd name="T0" fmla="*/ 75 w 75"/>
                <a:gd name="T1" fmla="*/ 2 h 23"/>
                <a:gd name="T2" fmla="*/ 73 w 75"/>
                <a:gd name="T3" fmla="*/ 6 h 23"/>
                <a:gd name="T4" fmla="*/ 4 w 75"/>
                <a:gd name="T5" fmla="*/ 23 h 23"/>
                <a:gd name="T6" fmla="*/ 0 w 75"/>
                <a:gd name="T7" fmla="*/ 20 h 23"/>
                <a:gd name="T8" fmla="*/ 3 w 75"/>
                <a:gd name="T9" fmla="*/ 17 h 23"/>
                <a:gd name="T10" fmla="*/ 71 w 75"/>
                <a:gd name="T11" fmla="*/ 0 h 23"/>
                <a:gd name="T12" fmla="*/ 75 w 75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23">
                  <a:moveTo>
                    <a:pt x="75" y="2"/>
                  </a:moveTo>
                  <a:cubicBezTo>
                    <a:pt x="75" y="4"/>
                    <a:pt x="74" y="6"/>
                    <a:pt x="73" y="6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1" y="22"/>
                    <a:pt x="0" y="20"/>
                  </a:cubicBezTo>
                  <a:cubicBezTo>
                    <a:pt x="0" y="19"/>
                    <a:pt x="1" y="17"/>
                    <a:pt x="3" y="17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1"/>
                    <a:pt x="75" y="2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Freeform 108">
              <a:extLst>
                <a:ext uri="{FF2B5EF4-FFF2-40B4-BE49-F238E27FC236}">
                  <a16:creationId xmlns:a16="http://schemas.microsoft.com/office/drawing/2014/main" id="{70AF8650-EB09-4787-B825-A5D7B7B33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800" y="2355850"/>
              <a:ext cx="46038" cy="125413"/>
            </a:xfrm>
            <a:custGeom>
              <a:avLst/>
              <a:gdLst>
                <a:gd name="T0" fmla="*/ 6 w 12"/>
                <a:gd name="T1" fmla="*/ 1 h 33"/>
                <a:gd name="T2" fmla="*/ 0 w 12"/>
                <a:gd name="T3" fmla="*/ 0 h 33"/>
                <a:gd name="T4" fmla="*/ 0 w 12"/>
                <a:gd name="T5" fmla="*/ 26 h 33"/>
                <a:gd name="T6" fmla="*/ 6 w 12"/>
                <a:gd name="T7" fmla="*/ 33 h 33"/>
                <a:gd name="T8" fmla="*/ 12 w 12"/>
                <a:gd name="T9" fmla="*/ 26 h 33"/>
                <a:gd name="T10" fmla="*/ 12 w 12"/>
                <a:gd name="T11" fmla="*/ 0 h 33"/>
                <a:gd name="T12" fmla="*/ 6 w 12"/>
                <a:gd name="T13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3">
                  <a:moveTo>
                    <a:pt x="6" y="1"/>
                  </a:moveTo>
                  <a:cubicBezTo>
                    <a:pt x="4" y="1"/>
                    <a:pt x="2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2" y="33"/>
                    <a:pt x="6" y="33"/>
                  </a:cubicBezTo>
                  <a:cubicBezTo>
                    <a:pt x="10" y="33"/>
                    <a:pt x="12" y="30"/>
                    <a:pt x="12" y="2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8" y="1"/>
                    <a:pt x="6" y="1"/>
                  </a:cubicBez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Oval 109">
              <a:extLst>
                <a:ext uri="{FF2B5EF4-FFF2-40B4-BE49-F238E27FC236}">
                  <a16:creationId xmlns:a16="http://schemas.microsoft.com/office/drawing/2014/main" id="{F4E0B1D8-B251-4061-9813-8BF427DA6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4588" y="2212975"/>
              <a:ext cx="144463" cy="147638"/>
            </a:xfrm>
            <a:prstGeom prst="ellipse">
              <a:avLst/>
            </a:pr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110">
              <a:extLst>
                <a:ext uri="{FF2B5EF4-FFF2-40B4-BE49-F238E27FC236}">
                  <a16:creationId xmlns:a16="http://schemas.microsoft.com/office/drawing/2014/main" id="{9887B520-8CA5-4418-B1E2-F8918D6D4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588" y="2212975"/>
              <a:ext cx="122238" cy="120650"/>
            </a:xfrm>
            <a:custGeom>
              <a:avLst/>
              <a:gdLst>
                <a:gd name="T0" fmla="*/ 19 w 32"/>
                <a:gd name="T1" fmla="*/ 0 h 32"/>
                <a:gd name="T2" fmla="*/ 0 w 32"/>
                <a:gd name="T3" fmla="*/ 20 h 32"/>
                <a:gd name="T4" fmla="*/ 4 w 32"/>
                <a:gd name="T5" fmla="*/ 32 h 32"/>
                <a:gd name="T6" fmla="*/ 32 w 32"/>
                <a:gd name="T7" fmla="*/ 5 h 32"/>
                <a:gd name="T8" fmla="*/ 19 w 32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2">
                  <a:moveTo>
                    <a:pt x="19" y="0"/>
                  </a:moveTo>
                  <a:cubicBezTo>
                    <a:pt x="8" y="0"/>
                    <a:pt x="0" y="9"/>
                    <a:pt x="0" y="20"/>
                  </a:cubicBezTo>
                  <a:cubicBezTo>
                    <a:pt x="0" y="24"/>
                    <a:pt x="2" y="29"/>
                    <a:pt x="4" y="32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2"/>
                    <a:pt x="24" y="0"/>
                    <a:pt x="19" y="0"/>
                  </a:cubicBez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EDD291A-97C6-4072-9B9B-62AB2B71E4E1}"/>
              </a:ext>
            </a:extLst>
          </p:cNvPr>
          <p:cNvGrpSpPr/>
          <p:nvPr/>
        </p:nvGrpSpPr>
        <p:grpSpPr>
          <a:xfrm>
            <a:off x="4943638" y="1908197"/>
            <a:ext cx="297456" cy="297457"/>
            <a:chOff x="6773863" y="639763"/>
            <a:chExt cx="7715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42" name="Freeform 54">
              <a:extLst>
                <a:ext uri="{FF2B5EF4-FFF2-40B4-BE49-F238E27FC236}">
                  <a16:creationId xmlns:a16="http://schemas.microsoft.com/office/drawing/2014/main" id="{2B6905E7-AEE6-4F85-B987-B73097E2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Freeform 55">
              <a:extLst>
                <a:ext uri="{FF2B5EF4-FFF2-40B4-BE49-F238E27FC236}">
                  <a16:creationId xmlns:a16="http://schemas.microsoft.com/office/drawing/2014/main" id="{E90D9BBF-C080-47A0-A4F8-E5A6BF2AD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Freeform 56">
              <a:extLst>
                <a:ext uri="{FF2B5EF4-FFF2-40B4-BE49-F238E27FC236}">
                  <a16:creationId xmlns:a16="http://schemas.microsoft.com/office/drawing/2014/main" id="{B3965068-7E78-44B4-A0DF-5A570EF53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Rectangle 57">
              <a:extLst>
                <a:ext uri="{FF2B5EF4-FFF2-40B4-BE49-F238E27FC236}">
                  <a16:creationId xmlns:a16="http://schemas.microsoft.com/office/drawing/2014/main" id="{7D5C7B2C-57A4-4890-B35C-E5029E67A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Rectangle 58">
              <a:extLst>
                <a:ext uri="{FF2B5EF4-FFF2-40B4-BE49-F238E27FC236}">
                  <a16:creationId xmlns:a16="http://schemas.microsoft.com/office/drawing/2014/main" id="{E7C2DA72-80C6-4D91-8AD8-FB847F294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Rectangle 59">
              <a:extLst>
                <a:ext uri="{FF2B5EF4-FFF2-40B4-BE49-F238E27FC236}">
                  <a16:creationId xmlns:a16="http://schemas.microsoft.com/office/drawing/2014/main" id="{D0DF3C8C-23E1-46B0-8275-E219071EF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Rectangle 60">
              <a:extLst>
                <a:ext uri="{FF2B5EF4-FFF2-40B4-BE49-F238E27FC236}">
                  <a16:creationId xmlns:a16="http://schemas.microsoft.com/office/drawing/2014/main" id="{89F4AC21-18F0-4CEF-B33B-A39146D1A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Rectangle 61">
              <a:extLst>
                <a:ext uri="{FF2B5EF4-FFF2-40B4-BE49-F238E27FC236}">
                  <a16:creationId xmlns:a16="http://schemas.microsoft.com/office/drawing/2014/main" id="{1CA3C9A2-8169-4B5E-A1A9-FAE7BEA33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Rectangle 62">
              <a:extLst>
                <a:ext uri="{FF2B5EF4-FFF2-40B4-BE49-F238E27FC236}">
                  <a16:creationId xmlns:a16="http://schemas.microsoft.com/office/drawing/2014/main" id="{7B59A263-393F-482C-8DBE-5DE8C11E40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Rectangle 63">
              <a:extLst>
                <a:ext uri="{FF2B5EF4-FFF2-40B4-BE49-F238E27FC236}">
                  <a16:creationId xmlns:a16="http://schemas.microsoft.com/office/drawing/2014/main" id="{C61CBAC0-16F3-4F1D-9E33-0A6718F44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Rectangle 64">
              <a:extLst>
                <a:ext uri="{FF2B5EF4-FFF2-40B4-BE49-F238E27FC236}">
                  <a16:creationId xmlns:a16="http://schemas.microsoft.com/office/drawing/2014/main" id="{ED08D041-F6C0-4B78-8379-903C523C0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Rectangle 65">
              <a:extLst>
                <a:ext uri="{FF2B5EF4-FFF2-40B4-BE49-F238E27FC236}">
                  <a16:creationId xmlns:a16="http://schemas.microsoft.com/office/drawing/2014/main" id="{69BF23A6-125A-4788-AAE5-708C6C7B7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Rectangle 66">
              <a:extLst>
                <a:ext uri="{FF2B5EF4-FFF2-40B4-BE49-F238E27FC236}">
                  <a16:creationId xmlns:a16="http://schemas.microsoft.com/office/drawing/2014/main" id="{B6E6F684-2513-4D36-AC21-A0F712831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Rectangle 67">
              <a:extLst>
                <a:ext uri="{FF2B5EF4-FFF2-40B4-BE49-F238E27FC236}">
                  <a16:creationId xmlns:a16="http://schemas.microsoft.com/office/drawing/2014/main" id="{B55F9D66-BFDB-4939-A5EF-D8373DC71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Rectangle 68">
              <a:extLst>
                <a:ext uri="{FF2B5EF4-FFF2-40B4-BE49-F238E27FC236}">
                  <a16:creationId xmlns:a16="http://schemas.microsoft.com/office/drawing/2014/main" id="{E643468B-0731-4E81-AFFF-C0D07572B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69">
              <a:extLst>
                <a:ext uri="{FF2B5EF4-FFF2-40B4-BE49-F238E27FC236}">
                  <a16:creationId xmlns:a16="http://schemas.microsoft.com/office/drawing/2014/main" id="{1A66EBE6-109C-4300-A350-5914F1551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70">
              <a:extLst>
                <a:ext uri="{FF2B5EF4-FFF2-40B4-BE49-F238E27FC236}">
                  <a16:creationId xmlns:a16="http://schemas.microsoft.com/office/drawing/2014/main" id="{3E27F4D3-31DA-420C-A1F8-B26E1C657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71">
              <a:extLst>
                <a:ext uri="{FF2B5EF4-FFF2-40B4-BE49-F238E27FC236}">
                  <a16:creationId xmlns:a16="http://schemas.microsoft.com/office/drawing/2014/main" id="{A87C7B80-9060-44B6-989F-BDB4B6E0A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624CF4E-1479-88EB-ABC1-63CFE281A7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979" y="-499613"/>
            <a:ext cx="1808680" cy="1808680"/>
          </a:xfrm>
          <a:prstGeom prst="rect">
            <a:avLst/>
          </a:prstGeom>
        </p:spPr>
      </p:pic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748050A8-9BEB-1E15-38CE-4F3FF48427EC}"/>
              </a:ext>
            </a:extLst>
          </p:cNvPr>
          <p:cNvSpPr/>
          <p:nvPr/>
        </p:nvSpPr>
        <p:spPr>
          <a:xfrm>
            <a:off x="207122" y="215979"/>
            <a:ext cx="9841445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ángulo 12">
            <a:extLst>
              <a:ext uri="{FF2B5EF4-FFF2-40B4-BE49-F238E27FC236}">
                <a16:creationId xmlns:a16="http://schemas.microsoft.com/office/drawing/2014/main" id="{33B524A9-826B-81FC-C3FE-DF5FCD583FC4}"/>
              </a:ext>
            </a:extLst>
          </p:cNvPr>
          <p:cNvSpPr/>
          <p:nvPr/>
        </p:nvSpPr>
        <p:spPr>
          <a:xfrm>
            <a:off x="1184596" y="396696"/>
            <a:ext cx="6907351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Expectation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D46833-FE29-71DF-788C-F2E6320EB783}"/>
              </a:ext>
            </a:extLst>
          </p:cNvPr>
          <p:cNvSpPr/>
          <p:nvPr/>
        </p:nvSpPr>
        <p:spPr>
          <a:xfrm>
            <a:off x="455973" y="521423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6" name="Picture 4" descr="Handshake - Free business and finance icons">
            <a:extLst>
              <a:ext uri="{FF2B5EF4-FFF2-40B4-BE49-F238E27FC236}">
                <a16:creationId xmlns:a16="http://schemas.microsoft.com/office/drawing/2014/main" id="{57A08C1F-E161-9544-5B29-B8B28A03D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465" y="589731"/>
            <a:ext cx="560249" cy="56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82258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 Manag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  <a:endParaRPr lang="en-US" sz="1050" dirty="0"/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pic>
        <p:nvPicPr>
          <p:cNvPr id="4" name="Picture 3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A482FC57-17D3-3A23-46A2-1257FC345C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1294" y="818117"/>
            <a:ext cx="5221765" cy="522176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look at the options…</a:t>
            </a:r>
          </a:p>
        </p:txBody>
      </p:sp>
    </p:spTree>
    <p:extLst>
      <p:ext uri="{BB962C8B-B14F-4D97-AF65-F5344CB8AC3E}">
        <p14:creationId xmlns:p14="http://schemas.microsoft.com/office/powerpoint/2010/main" val="19723834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22" y="6723243"/>
            <a:ext cx="11063515" cy="1325563"/>
          </a:xfrm>
        </p:spPr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Infrastructure As Code (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) in pract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akes proven coding practices to continuously deliver infrastructure, and software running on it rapidly and at scale. </a:t>
            </a:r>
            <a:endParaRPr lang="en-US" sz="24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335944" y="4896951"/>
            <a:ext cx="1427250" cy="369332"/>
          </a:xfrm>
          <a:custGeom>
            <a:avLst/>
            <a:gdLst>
              <a:gd name="connsiteX0" fmla="*/ 0 w 1427250"/>
              <a:gd name="connsiteY0" fmla="*/ 0 h 369332"/>
              <a:gd name="connsiteX1" fmla="*/ 461477 w 1427250"/>
              <a:gd name="connsiteY1" fmla="*/ 0 h 369332"/>
              <a:gd name="connsiteX2" fmla="*/ 894410 w 1427250"/>
              <a:gd name="connsiteY2" fmla="*/ 0 h 369332"/>
              <a:gd name="connsiteX3" fmla="*/ 1427250 w 1427250"/>
              <a:gd name="connsiteY3" fmla="*/ 0 h 369332"/>
              <a:gd name="connsiteX4" fmla="*/ 1427250 w 1427250"/>
              <a:gd name="connsiteY4" fmla="*/ 369332 h 369332"/>
              <a:gd name="connsiteX5" fmla="*/ 980045 w 1427250"/>
              <a:gd name="connsiteY5" fmla="*/ 369332 h 369332"/>
              <a:gd name="connsiteX6" fmla="*/ 475750 w 1427250"/>
              <a:gd name="connsiteY6" fmla="*/ 369332 h 369332"/>
              <a:gd name="connsiteX7" fmla="*/ 0 w 1427250"/>
              <a:gd name="connsiteY7" fmla="*/ 369332 h 369332"/>
              <a:gd name="connsiteX8" fmla="*/ 0 w 1427250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7250" h="369332" extrusionOk="0">
                <a:moveTo>
                  <a:pt x="0" y="0"/>
                </a:moveTo>
                <a:cubicBezTo>
                  <a:pt x="182711" y="-35384"/>
                  <a:pt x="303666" y="16383"/>
                  <a:pt x="461477" y="0"/>
                </a:cubicBezTo>
                <a:cubicBezTo>
                  <a:pt x="619288" y="-16383"/>
                  <a:pt x="756587" y="28262"/>
                  <a:pt x="894410" y="0"/>
                </a:cubicBezTo>
                <a:cubicBezTo>
                  <a:pt x="1032233" y="-28262"/>
                  <a:pt x="1283755" y="23645"/>
                  <a:pt x="1427250" y="0"/>
                </a:cubicBezTo>
                <a:cubicBezTo>
                  <a:pt x="1462838" y="113493"/>
                  <a:pt x="1400443" y="197069"/>
                  <a:pt x="1427250" y="369332"/>
                </a:cubicBezTo>
                <a:cubicBezTo>
                  <a:pt x="1227455" y="420406"/>
                  <a:pt x="1074207" y="358393"/>
                  <a:pt x="980045" y="369332"/>
                </a:cubicBezTo>
                <a:cubicBezTo>
                  <a:pt x="885884" y="380271"/>
                  <a:pt x="643120" y="363842"/>
                  <a:pt x="475750" y="369332"/>
                </a:cubicBezTo>
                <a:cubicBezTo>
                  <a:pt x="308381" y="374822"/>
                  <a:pt x="211130" y="34427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elopers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878174" y="5380153"/>
            <a:ext cx="1750607" cy="369332"/>
          </a:xfrm>
          <a:custGeom>
            <a:avLst/>
            <a:gdLst>
              <a:gd name="connsiteX0" fmla="*/ 0 w 1750607"/>
              <a:gd name="connsiteY0" fmla="*/ 0 h 369332"/>
              <a:gd name="connsiteX1" fmla="*/ 566030 w 1750607"/>
              <a:gd name="connsiteY1" fmla="*/ 0 h 369332"/>
              <a:gd name="connsiteX2" fmla="*/ 1097047 w 1750607"/>
              <a:gd name="connsiteY2" fmla="*/ 0 h 369332"/>
              <a:gd name="connsiteX3" fmla="*/ 1750607 w 1750607"/>
              <a:gd name="connsiteY3" fmla="*/ 0 h 369332"/>
              <a:gd name="connsiteX4" fmla="*/ 1750607 w 1750607"/>
              <a:gd name="connsiteY4" fmla="*/ 369332 h 369332"/>
              <a:gd name="connsiteX5" fmla="*/ 1202083 w 1750607"/>
              <a:gd name="connsiteY5" fmla="*/ 369332 h 369332"/>
              <a:gd name="connsiteX6" fmla="*/ 583536 w 1750607"/>
              <a:gd name="connsiteY6" fmla="*/ 369332 h 369332"/>
              <a:gd name="connsiteX7" fmla="*/ 0 w 1750607"/>
              <a:gd name="connsiteY7" fmla="*/ 369332 h 369332"/>
              <a:gd name="connsiteX8" fmla="*/ 0 w 175060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0607" h="369332" extrusionOk="0">
                <a:moveTo>
                  <a:pt x="0" y="0"/>
                </a:moveTo>
                <a:cubicBezTo>
                  <a:pt x="267781" y="-31356"/>
                  <a:pt x="339727" y="57124"/>
                  <a:pt x="566030" y="0"/>
                </a:cubicBezTo>
                <a:cubicBezTo>
                  <a:pt x="792333" y="-57124"/>
                  <a:pt x="916920" y="21415"/>
                  <a:pt x="1097047" y="0"/>
                </a:cubicBezTo>
                <a:cubicBezTo>
                  <a:pt x="1277174" y="-21415"/>
                  <a:pt x="1428544" y="3787"/>
                  <a:pt x="1750607" y="0"/>
                </a:cubicBezTo>
                <a:cubicBezTo>
                  <a:pt x="1786195" y="113493"/>
                  <a:pt x="1723800" y="197069"/>
                  <a:pt x="1750607" y="369332"/>
                </a:cubicBezTo>
                <a:cubicBezTo>
                  <a:pt x="1636280" y="420108"/>
                  <a:pt x="1411532" y="357153"/>
                  <a:pt x="1202083" y="369332"/>
                </a:cubicBezTo>
                <a:cubicBezTo>
                  <a:pt x="992634" y="381511"/>
                  <a:pt x="842273" y="355997"/>
                  <a:pt x="583536" y="369332"/>
                </a:cubicBezTo>
                <a:cubicBezTo>
                  <a:pt x="324799" y="382667"/>
                  <a:pt x="126639" y="369115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729017" cy="369332"/>
          </a:xfrm>
          <a:custGeom>
            <a:avLst/>
            <a:gdLst>
              <a:gd name="connsiteX0" fmla="*/ 0 w 2729017"/>
              <a:gd name="connsiteY0" fmla="*/ 0 h 369332"/>
              <a:gd name="connsiteX1" fmla="*/ 518513 w 2729017"/>
              <a:gd name="connsiteY1" fmla="*/ 0 h 369332"/>
              <a:gd name="connsiteX2" fmla="*/ 982446 w 2729017"/>
              <a:gd name="connsiteY2" fmla="*/ 0 h 369332"/>
              <a:gd name="connsiteX3" fmla="*/ 1582830 w 2729017"/>
              <a:gd name="connsiteY3" fmla="*/ 0 h 369332"/>
              <a:gd name="connsiteX4" fmla="*/ 2101343 w 2729017"/>
              <a:gd name="connsiteY4" fmla="*/ 0 h 369332"/>
              <a:gd name="connsiteX5" fmla="*/ 2729017 w 2729017"/>
              <a:gd name="connsiteY5" fmla="*/ 0 h 369332"/>
              <a:gd name="connsiteX6" fmla="*/ 2729017 w 2729017"/>
              <a:gd name="connsiteY6" fmla="*/ 369332 h 369332"/>
              <a:gd name="connsiteX7" fmla="*/ 2183214 w 2729017"/>
              <a:gd name="connsiteY7" fmla="*/ 369332 h 369332"/>
              <a:gd name="connsiteX8" fmla="*/ 1582830 w 2729017"/>
              <a:gd name="connsiteY8" fmla="*/ 369332 h 369332"/>
              <a:gd name="connsiteX9" fmla="*/ 1118897 w 2729017"/>
              <a:gd name="connsiteY9" fmla="*/ 369332 h 369332"/>
              <a:gd name="connsiteX10" fmla="*/ 573094 w 2729017"/>
              <a:gd name="connsiteY10" fmla="*/ 369332 h 369332"/>
              <a:gd name="connsiteX11" fmla="*/ 0 w 2729017"/>
              <a:gd name="connsiteY11" fmla="*/ 369332 h 369332"/>
              <a:gd name="connsiteX12" fmla="*/ 0 w 2729017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29017" h="369332" extrusionOk="0">
                <a:moveTo>
                  <a:pt x="0" y="0"/>
                </a:moveTo>
                <a:cubicBezTo>
                  <a:pt x="146495" y="-12851"/>
                  <a:pt x="367644" y="57445"/>
                  <a:pt x="518513" y="0"/>
                </a:cubicBezTo>
                <a:cubicBezTo>
                  <a:pt x="669382" y="-57445"/>
                  <a:pt x="870865" y="44409"/>
                  <a:pt x="982446" y="0"/>
                </a:cubicBezTo>
                <a:cubicBezTo>
                  <a:pt x="1094027" y="-44409"/>
                  <a:pt x="1370570" y="5039"/>
                  <a:pt x="1582830" y="0"/>
                </a:cubicBezTo>
                <a:cubicBezTo>
                  <a:pt x="1795090" y="-5039"/>
                  <a:pt x="1908915" y="49926"/>
                  <a:pt x="2101343" y="0"/>
                </a:cubicBezTo>
                <a:cubicBezTo>
                  <a:pt x="2293771" y="-49926"/>
                  <a:pt x="2436143" y="51830"/>
                  <a:pt x="2729017" y="0"/>
                </a:cubicBezTo>
                <a:cubicBezTo>
                  <a:pt x="2765177" y="81226"/>
                  <a:pt x="2707479" y="278722"/>
                  <a:pt x="2729017" y="369332"/>
                </a:cubicBezTo>
                <a:cubicBezTo>
                  <a:pt x="2537311" y="414238"/>
                  <a:pt x="2347296" y="332628"/>
                  <a:pt x="2183214" y="369332"/>
                </a:cubicBezTo>
                <a:cubicBezTo>
                  <a:pt x="2019132" y="406036"/>
                  <a:pt x="1875959" y="309148"/>
                  <a:pt x="1582830" y="369332"/>
                </a:cubicBezTo>
                <a:cubicBezTo>
                  <a:pt x="1289701" y="429516"/>
                  <a:pt x="1273121" y="322968"/>
                  <a:pt x="1118897" y="369332"/>
                </a:cubicBezTo>
                <a:cubicBezTo>
                  <a:pt x="964673" y="415696"/>
                  <a:pt x="743721" y="311542"/>
                  <a:pt x="573094" y="369332"/>
                </a:cubicBezTo>
                <a:cubicBezTo>
                  <a:pt x="402467" y="427122"/>
                  <a:pt x="189511" y="30143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perations/Onboarding?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Key Principles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Source Control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Idempotency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Immutability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294AB6-8F34-F02C-5DB8-58169D8BB0FB}"/>
              </a:ext>
            </a:extLst>
          </p:cNvPr>
          <p:cNvSpPr txBox="1"/>
          <p:nvPr/>
        </p:nvSpPr>
        <p:spPr>
          <a:xfrm>
            <a:off x="2215542" y="5860095"/>
            <a:ext cx="1491114" cy="369332"/>
          </a:xfrm>
          <a:custGeom>
            <a:avLst/>
            <a:gdLst>
              <a:gd name="connsiteX0" fmla="*/ 0 w 1491114"/>
              <a:gd name="connsiteY0" fmla="*/ 0 h 369332"/>
              <a:gd name="connsiteX1" fmla="*/ 482127 w 1491114"/>
              <a:gd name="connsiteY1" fmla="*/ 0 h 369332"/>
              <a:gd name="connsiteX2" fmla="*/ 934431 w 1491114"/>
              <a:gd name="connsiteY2" fmla="*/ 0 h 369332"/>
              <a:gd name="connsiteX3" fmla="*/ 1491114 w 1491114"/>
              <a:gd name="connsiteY3" fmla="*/ 0 h 369332"/>
              <a:gd name="connsiteX4" fmla="*/ 1491114 w 1491114"/>
              <a:gd name="connsiteY4" fmla="*/ 369332 h 369332"/>
              <a:gd name="connsiteX5" fmla="*/ 1023898 w 1491114"/>
              <a:gd name="connsiteY5" fmla="*/ 369332 h 369332"/>
              <a:gd name="connsiteX6" fmla="*/ 497038 w 1491114"/>
              <a:gd name="connsiteY6" fmla="*/ 369332 h 369332"/>
              <a:gd name="connsiteX7" fmla="*/ 0 w 1491114"/>
              <a:gd name="connsiteY7" fmla="*/ 369332 h 369332"/>
              <a:gd name="connsiteX8" fmla="*/ 0 w 149111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114" h="369332" extrusionOk="0">
                <a:moveTo>
                  <a:pt x="0" y="0"/>
                </a:moveTo>
                <a:cubicBezTo>
                  <a:pt x="188194" y="-26458"/>
                  <a:pt x="364825" y="36219"/>
                  <a:pt x="482127" y="0"/>
                </a:cubicBezTo>
                <a:cubicBezTo>
                  <a:pt x="599429" y="-36219"/>
                  <a:pt x="728516" y="48033"/>
                  <a:pt x="934431" y="0"/>
                </a:cubicBezTo>
                <a:cubicBezTo>
                  <a:pt x="1140346" y="-48033"/>
                  <a:pt x="1319099" y="18012"/>
                  <a:pt x="1491114" y="0"/>
                </a:cubicBezTo>
                <a:cubicBezTo>
                  <a:pt x="1526702" y="113493"/>
                  <a:pt x="1464307" y="197069"/>
                  <a:pt x="1491114" y="369332"/>
                </a:cubicBezTo>
                <a:cubicBezTo>
                  <a:pt x="1294257" y="390018"/>
                  <a:pt x="1205214" y="325681"/>
                  <a:pt x="1023898" y="369332"/>
                </a:cubicBezTo>
                <a:cubicBezTo>
                  <a:pt x="842582" y="412983"/>
                  <a:pt x="631616" y="334557"/>
                  <a:pt x="497038" y="369332"/>
                </a:cubicBezTo>
                <a:cubicBezTo>
                  <a:pt x="362460" y="404107"/>
                  <a:pt x="248388" y="33064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A22097B-7238-5BA4-C778-B62763BCF49A}"/>
              </a:ext>
            </a:extLst>
          </p:cNvPr>
          <p:cNvSpPr txBox="1"/>
          <p:nvPr/>
        </p:nvSpPr>
        <p:spPr>
          <a:xfrm>
            <a:off x="1900059" y="4895973"/>
            <a:ext cx="1665649" cy="369332"/>
          </a:xfrm>
          <a:custGeom>
            <a:avLst/>
            <a:gdLst>
              <a:gd name="connsiteX0" fmla="*/ 0 w 1665649"/>
              <a:gd name="connsiteY0" fmla="*/ 0 h 369332"/>
              <a:gd name="connsiteX1" fmla="*/ 538560 w 1665649"/>
              <a:gd name="connsiteY1" fmla="*/ 0 h 369332"/>
              <a:gd name="connsiteX2" fmla="*/ 1043807 w 1665649"/>
              <a:gd name="connsiteY2" fmla="*/ 0 h 369332"/>
              <a:gd name="connsiteX3" fmla="*/ 1665649 w 1665649"/>
              <a:gd name="connsiteY3" fmla="*/ 0 h 369332"/>
              <a:gd name="connsiteX4" fmla="*/ 1665649 w 1665649"/>
              <a:gd name="connsiteY4" fmla="*/ 369332 h 369332"/>
              <a:gd name="connsiteX5" fmla="*/ 1143746 w 1665649"/>
              <a:gd name="connsiteY5" fmla="*/ 369332 h 369332"/>
              <a:gd name="connsiteX6" fmla="*/ 555216 w 1665649"/>
              <a:gd name="connsiteY6" fmla="*/ 369332 h 369332"/>
              <a:gd name="connsiteX7" fmla="*/ 0 w 1665649"/>
              <a:gd name="connsiteY7" fmla="*/ 369332 h 369332"/>
              <a:gd name="connsiteX8" fmla="*/ 0 w 1665649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65649" h="369332" extrusionOk="0">
                <a:moveTo>
                  <a:pt x="0" y="0"/>
                </a:moveTo>
                <a:cubicBezTo>
                  <a:pt x="220539" y="-59658"/>
                  <a:pt x="340188" y="32099"/>
                  <a:pt x="538560" y="0"/>
                </a:cubicBezTo>
                <a:cubicBezTo>
                  <a:pt x="736932" y="-32099"/>
                  <a:pt x="843340" y="25774"/>
                  <a:pt x="1043807" y="0"/>
                </a:cubicBezTo>
                <a:cubicBezTo>
                  <a:pt x="1244274" y="-25774"/>
                  <a:pt x="1397840" y="1585"/>
                  <a:pt x="1665649" y="0"/>
                </a:cubicBezTo>
                <a:cubicBezTo>
                  <a:pt x="1701237" y="113493"/>
                  <a:pt x="1638842" y="197069"/>
                  <a:pt x="1665649" y="369332"/>
                </a:cubicBezTo>
                <a:cubicBezTo>
                  <a:pt x="1413817" y="377495"/>
                  <a:pt x="1274321" y="340929"/>
                  <a:pt x="1143746" y="369332"/>
                </a:cubicBezTo>
                <a:cubicBezTo>
                  <a:pt x="1013171" y="397735"/>
                  <a:pt x="811374" y="308099"/>
                  <a:pt x="555216" y="369332"/>
                </a:cubicBezTo>
                <a:cubicBezTo>
                  <a:pt x="299058" y="430565"/>
                  <a:pt x="143550" y="319303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58ABD-EA80-B5D8-1ED4-7F96516E83B8}"/>
              </a:ext>
            </a:extLst>
          </p:cNvPr>
          <p:cNvSpPr txBox="1"/>
          <p:nvPr/>
        </p:nvSpPr>
        <p:spPr>
          <a:xfrm>
            <a:off x="350181" y="5865311"/>
            <a:ext cx="1756506" cy="369332"/>
          </a:xfrm>
          <a:custGeom>
            <a:avLst/>
            <a:gdLst>
              <a:gd name="connsiteX0" fmla="*/ 0 w 1756506"/>
              <a:gd name="connsiteY0" fmla="*/ 0 h 369332"/>
              <a:gd name="connsiteX1" fmla="*/ 567937 w 1756506"/>
              <a:gd name="connsiteY1" fmla="*/ 0 h 369332"/>
              <a:gd name="connsiteX2" fmla="*/ 1100744 w 1756506"/>
              <a:gd name="connsiteY2" fmla="*/ 0 h 369332"/>
              <a:gd name="connsiteX3" fmla="*/ 1756506 w 1756506"/>
              <a:gd name="connsiteY3" fmla="*/ 0 h 369332"/>
              <a:gd name="connsiteX4" fmla="*/ 1756506 w 1756506"/>
              <a:gd name="connsiteY4" fmla="*/ 369332 h 369332"/>
              <a:gd name="connsiteX5" fmla="*/ 1206134 w 1756506"/>
              <a:gd name="connsiteY5" fmla="*/ 369332 h 369332"/>
              <a:gd name="connsiteX6" fmla="*/ 585502 w 1756506"/>
              <a:gd name="connsiteY6" fmla="*/ 369332 h 369332"/>
              <a:gd name="connsiteX7" fmla="*/ 0 w 1756506"/>
              <a:gd name="connsiteY7" fmla="*/ 369332 h 369332"/>
              <a:gd name="connsiteX8" fmla="*/ 0 w 1756506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6506" h="369332" extrusionOk="0">
                <a:moveTo>
                  <a:pt x="0" y="0"/>
                </a:moveTo>
                <a:cubicBezTo>
                  <a:pt x="154114" y="-38761"/>
                  <a:pt x="340795" y="377"/>
                  <a:pt x="567937" y="0"/>
                </a:cubicBezTo>
                <a:cubicBezTo>
                  <a:pt x="795079" y="-377"/>
                  <a:pt x="839806" y="7797"/>
                  <a:pt x="1100744" y="0"/>
                </a:cubicBezTo>
                <a:cubicBezTo>
                  <a:pt x="1361682" y="-7797"/>
                  <a:pt x="1587737" y="54317"/>
                  <a:pt x="1756506" y="0"/>
                </a:cubicBezTo>
                <a:cubicBezTo>
                  <a:pt x="1792094" y="113493"/>
                  <a:pt x="1729699" y="197069"/>
                  <a:pt x="1756506" y="369332"/>
                </a:cubicBezTo>
                <a:cubicBezTo>
                  <a:pt x="1538741" y="413092"/>
                  <a:pt x="1372527" y="312999"/>
                  <a:pt x="1206134" y="369332"/>
                </a:cubicBezTo>
                <a:cubicBezTo>
                  <a:pt x="1039741" y="425665"/>
                  <a:pt x="758544" y="332943"/>
                  <a:pt x="585502" y="369332"/>
                </a:cubicBezTo>
                <a:cubicBezTo>
                  <a:pt x="412460" y="405721"/>
                  <a:pt x="252659" y="33399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?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4E91A0C-43BD-7353-7CB7-5C2C9BA433AC}"/>
              </a:ext>
            </a:extLst>
          </p:cNvPr>
          <p:cNvGrpSpPr/>
          <p:nvPr/>
        </p:nvGrpSpPr>
        <p:grpSpPr>
          <a:xfrm>
            <a:off x="207122" y="215979"/>
            <a:ext cx="11491716" cy="1214125"/>
            <a:chOff x="207122" y="215979"/>
            <a:chExt cx="1149171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B620EF0C-E8FB-CE93-8953-236B7C4AED61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Rectángulo 12">
              <a:extLst>
                <a:ext uri="{FF2B5EF4-FFF2-40B4-BE49-F238E27FC236}">
                  <a16:creationId xmlns:a16="http://schemas.microsoft.com/office/drawing/2014/main" id="{4303F270-5F5C-CA64-E663-BE360294A213}"/>
                </a:ext>
              </a:extLst>
            </p:cNvPr>
            <p:cNvSpPr/>
            <p:nvPr/>
          </p:nvSpPr>
          <p:spPr>
            <a:xfrm>
              <a:off x="587908" y="408316"/>
              <a:ext cx="11007404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nfrastructure As Code (</a:t>
              </a:r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) in practice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CC34FF78-B575-E494-D9E4-0122257985B0}"/>
              </a:ext>
            </a:extLst>
          </p:cNvPr>
          <p:cNvSpPr txBox="1"/>
          <p:nvPr/>
        </p:nvSpPr>
        <p:spPr>
          <a:xfrm>
            <a:off x="6303842" y="2056115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To Whom?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81470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6" grpId="0" animBg="1"/>
      <p:bldP spid="5" grpId="0" animBg="1"/>
      <p:bldP spid="6" grpId="0" animBg="1"/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404ABF-311B-4C82-86A1-8C2F926F51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404ABF-311B-4C82-86A1-8C2F926F5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CBC95CE5-6B46-4749-8037-32F37DFED6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任意多边形: 形状 16">
            <a:extLst>
              <a:ext uri="{FF2B5EF4-FFF2-40B4-BE49-F238E27FC236}">
                <a16:creationId xmlns:a16="http://schemas.microsoft.com/office/drawing/2014/main" id="{D794E18D-9977-46BD-8B0A-01B80EF9FD2A}"/>
              </a:ext>
            </a:extLst>
          </p:cNvPr>
          <p:cNvSpPr/>
          <p:nvPr/>
        </p:nvSpPr>
        <p:spPr>
          <a:xfrm rot="5400000" flipH="1">
            <a:off x="459329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6">
            <a:extLst>
              <a:ext uri="{FF2B5EF4-FFF2-40B4-BE49-F238E27FC236}">
                <a16:creationId xmlns:a16="http://schemas.microsoft.com/office/drawing/2014/main" id="{4B120BF0-97E1-4511-B539-159342009EB6}"/>
              </a:ext>
            </a:extLst>
          </p:cNvPr>
          <p:cNvSpPr/>
          <p:nvPr/>
        </p:nvSpPr>
        <p:spPr>
          <a:xfrm rot="5400000" flipH="1">
            <a:off x="459329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Rectángulo 6175">
            <a:extLst>
              <a:ext uri="{FF2B5EF4-FFF2-40B4-BE49-F238E27FC236}">
                <a16:creationId xmlns:a16="http://schemas.microsoft.com/office/drawing/2014/main" id="{084BFAB7-1E03-4EB2-8CCE-0C5CACEA3CC1}"/>
              </a:ext>
            </a:extLst>
          </p:cNvPr>
          <p:cNvSpPr/>
          <p:nvPr/>
        </p:nvSpPr>
        <p:spPr>
          <a:xfrm>
            <a:off x="1" y="0"/>
            <a:ext cx="5545550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任意多边形: 形状 16">
            <a:extLst>
              <a:ext uri="{FF2B5EF4-FFF2-40B4-BE49-F238E27FC236}">
                <a16:creationId xmlns:a16="http://schemas.microsoft.com/office/drawing/2014/main" id="{E4B93134-654E-4019-A634-7D3215DB38CD}"/>
              </a:ext>
            </a:extLst>
          </p:cNvPr>
          <p:cNvSpPr/>
          <p:nvPr/>
        </p:nvSpPr>
        <p:spPr>
          <a:xfrm rot="5400000" flipH="1">
            <a:off x="4255769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6">
            <a:extLst>
              <a:ext uri="{FF2B5EF4-FFF2-40B4-BE49-F238E27FC236}">
                <a16:creationId xmlns:a16="http://schemas.microsoft.com/office/drawing/2014/main" id="{5554B1C5-6BA6-45C1-B78B-5EFC720BF1CD}"/>
              </a:ext>
            </a:extLst>
          </p:cNvPr>
          <p:cNvSpPr/>
          <p:nvPr/>
        </p:nvSpPr>
        <p:spPr>
          <a:xfrm rot="5400000" flipH="1">
            <a:off x="4255769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FDC3C6D-99CD-4029-A4B2-66084947B1BB}"/>
              </a:ext>
            </a:extLst>
          </p:cNvPr>
          <p:cNvSpPr/>
          <p:nvPr/>
        </p:nvSpPr>
        <p:spPr>
          <a:xfrm>
            <a:off x="3650343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CC1986-C0F2-4C1B-8575-225EEE4D5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78" y="2263628"/>
            <a:ext cx="3313587" cy="2285154"/>
          </a:xfrm>
        </p:spPr>
        <p:txBody>
          <a:bodyPr lIns="0" rIns="0"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t there are multiple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pplications</a:t>
            </a:r>
            <a:endParaRPr 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293895EF-F846-482A-9164-DAB9FF74888E}"/>
              </a:ext>
            </a:extLst>
          </p:cNvPr>
          <p:cNvSpPr/>
          <p:nvPr/>
        </p:nvSpPr>
        <p:spPr>
          <a:xfrm>
            <a:off x="3862388" y="1195388"/>
            <a:ext cx="4467224" cy="4467224"/>
          </a:xfrm>
          <a:prstGeom prst="arc">
            <a:avLst>
              <a:gd name="adj1" fmla="val 14589245"/>
              <a:gd name="adj2" fmla="val 11716576"/>
            </a:avLst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22ED8AD-AED4-42BC-AACE-20BBBC45C718}"/>
              </a:ext>
            </a:extLst>
          </p:cNvPr>
          <p:cNvCxnSpPr/>
          <p:nvPr/>
        </p:nvCxnSpPr>
        <p:spPr>
          <a:xfrm>
            <a:off x="8680862" y="2410691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3D272C-D42D-4CD7-B1F7-D4937D10881E}"/>
              </a:ext>
            </a:extLst>
          </p:cNvPr>
          <p:cNvCxnSpPr/>
          <p:nvPr/>
        </p:nvCxnSpPr>
        <p:spPr>
          <a:xfrm>
            <a:off x="8680862" y="4374700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EABFCF95-08DD-8DF1-8DA6-196B1D7C33D0}"/>
              </a:ext>
            </a:extLst>
          </p:cNvPr>
          <p:cNvGrpSpPr/>
          <p:nvPr/>
        </p:nvGrpSpPr>
        <p:grpSpPr>
          <a:xfrm>
            <a:off x="8024435" y="2920446"/>
            <a:ext cx="3738940" cy="971518"/>
            <a:chOff x="8024435" y="2920446"/>
            <a:chExt cx="3738940" cy="971518"/>
          </a:xfrm>
        </p:grpSpPr>
        <p:sp>
          <p:nvSpPr>
            <p:cNvPr id="35" name="Freeform 46">
              <a:extLst>
                <a:ext uri="{FF2B5EF4-FFF2-40B4-BE49-F238E27FC236}">
                  <a16:creationId xmlns:a16="http://schemas.microsoft.com/office/drawing/2014/main" id="{D0E50AF2-0884-4E4A-B3F8-055FAD6842F5}"/>
                </a:ext>
              </a:extLst>
            </p:cNvPr>
            <p:cNvSpPr/>
            <p:nvPr/>
          </p:nvSpPr>
          <p:spPr>
            <a:xfrm>
              <a:off x="8147701" y="3055010"/>
              <a:ext cx="1989601" cy="73247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99B3873-668D-43B5-9506-34B08AD24C4A}"/>
                </a:ext>
              </a:extLst>
            </p:cNvPr>
            <p:cNvGrpSpPr/>
            <p:nvPr/>
          </p:nvGrpSpPr>
          <p:grpSpPr>
            <a:xfrm>
              <a:off x="8024435" y="2920446"/>
              <a:ext cx="971518" cy="971518"/>
              <a:chOff x="7187500" y="839949"/>
              <a:chExt cx="1422400" cy="1422400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FC6A1AEC-37B7-4291-B20C-58B8E0F6586B}"/>
                  </a:ext>
                </a:extLst>
              </p:cNvPr>
              <p:cNvSpPr/>
              <p:nvPr/>
            </p:nvSpPr>
            <p:spPr>
              <a:xfrm>
                <a:off x="7187500" y="839949"/>
                <a:ext cx="1422400" cy="1422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912DEC58-618B-45F5-9FE7-3128DCC314BD}"/>
                  </a:ext>
                </a:extLst>
              </p:cNvPr>
              <p:cNvSpPr/>
              <p:nvPr/>
            </p:nvSpPr>
            <p:spPr>
              <a:xfrm>
                <a:off x="7412941" y="1065390"/>
                <a:ext cx="971519" cy="971519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ffectLst>
                <a:outerShdw dist="635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3" name="Title 1">
              <a:extLst>
                <a:ext uri="{FF2B5EF4-FFF2-40B4-BE49-F238E27FC236}">
                  <a16:creationId xmlns:a16="http://schemas.microsoft.com/office/drawing/2014/main" id="{4AB2ACD1-6140-4842-BC3E-5D762A5714D4}"/>
                </a:ext>
              </a:extLst>
            </p:cNvPr>
            <p:cNvSpPr txBox="1">
              <a:spLocks/>
            </p:cNvSpPr>
            <p:nvPr/>
          </p:nvSpPr>
          <p:spPr>
            <a:xfrm>
              <a:off x="9056458" y="3150557"/>
              <a:ext cx="818269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8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itOps</a:t>
              </a:r>
              <a:endPara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8" name="Title 1">
              <a:extLst>
                <a:ext uri="{FF2B5EF4-FFF2-40B4-BE49-F238E27FC236}">
                  <a16:creationId xmlns:a16="http://schemas.microsoft.com/office/drawing/2014/main" id="{4C541DA1-3474-448E-85B7-DCDCAB60D849}"/>
                </a:ext>
              </a:extLst>
            </p:cNvPr>
            <p:cNvSpPr txBox="1">
              <a:spLocks/>
            </p:cNvSpPr>
            <p:nvPr/>
          </p:nvSpPr>
          <p:spPr>
            <a:xfrm>
              <a:off x="10279883" y="3165599"/>
              <a:ext cx="1483492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 triggered on PR merge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5174314-214B-44D4-B0A8-B89762E3047B}"/>
                </a:ext>
              </a:extLst>
            </p:cNvPr>
            <p:cNvGrpSpPr/>
            <p:nvPr/>
          </p:nvGrpSpPr>
          <p:grpSpPr>
            <a:xfrm>
              <a:off x="8352866" y="3261826"/>
              <a:ext cx="314657" cy="288759"/>
              <a:chOff x="10487025" y="5419725"/>
              <a:chExt cx="771525" cy="708026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45" name="Freeform 367">
                <a:extLst>
                  <a:ext uri="{FF2B5EF4-FFF2-40B4-BE49-F238E27FC236}">
                    <a16:creationId xmlns:a16="http://schemas.microsoft.com/office/drawing/2014/main" id="{5EC80E6D-AA47-4E41-A37B-131180562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7025" y="5419725"/>
                <a:ext cx="771525" cy="631825"/>
              </a:xfrm>
              <a:custGeom>
                <a:avLst/>
                <a:gdLst>
                  <a:gd name="T0" fmla="*/ 179 w 204"/>
                  <a:gd name="T1" fmla="*/ 0 h 167"/>
                  <a:gd name="T2" fmla="*/ 204 w 204"/>
                  <a:gd name="T3" fmla="*/ 26 h 167"/>
                  <a:gd name="T4" fmla="*/ 204 w 204"/>
                  <a:gd name="T5" fmla="*/ 141 h 167"/>
                  <a:gd name="T6" fmla="*/ 179 w 204"/>
                  <a:gd name="T7" fmla="*/ 167 h 167"/>
                  <a:gd name="T8" fmla="*/ 25 w 204"/>
                  <a:gd name="T9" fmla="*/ 167 h 167"/>
                  <a:gd name="T10" fmla="*/ 0 w 204"/>
                  <a:gd name="T11" fmla="*/ 141 h 167"/>
                  <a:gd name="T12" fmla="*/ 0 w 204"/>
                  <a:gd name="T13" fmla="*/ 26 h 167"/>
                  <a:gd name="T14" fmla="*/ 25 w 204"/>
                  <a:gd name="T15" fmla="*/ 0 h 167"/>
                  <a:gd name="T16" fmla="*/ 179 w 204"/>
                  <a:gd name="T17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4" h="167">
                    <a:moveTo>
                      <a:pt x="179" y="0"/>
                    </a:moveTo>
                    <a:cubicBezTo>
                      <a:pt x="193" y="0"/>
                      <a:pt x="204" y="12"/>
                      <a:pt x="204" y="26"/>
                    </a:cubicBezTo>
                    <a:cubicBezTo>
                      <a:pt x="204" y="141"/>
                      <a:pt x="204" y="141"/>
                      <a:pt x="204" y="141"/>
                    </a:cubicBezTo>
                    <a:cubicBezTo>
                      <a:pt x="204" y="155"/>
                      <a:pt x="193" y="167"/>
                      <a:pt x="179" y="167"/>
                    </a:cubicBezTo>
                    <a:cubicBezTo>
                      <a:pt x="25" y="167"/>
                      <a:pt x="25" y="167"/>
                      <a:pt x="25" y="167"/>
                    </a:cubicBezTo>
                    <a:cubicBezTo>
                      <a:pt x="11" y="167"/>
                      <a:pt x="0" y="155"/>
                      <a:pt x="0" y="141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12"/>
                      <a:pt x="11" y="0"/>
                      <a:pt x="25" y="0"/>
                    </a:cubicBezTo>
                    <a:lnTo>
                      <a:pt x="17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" name="Freeform 368">
                <a:extLst>
                  <a:ext uri="{FF2B5EF4-FFF2-40B4-BE49-F238E27FC236}">
                    <a16:creationId xmlns:a16="http://schemas.microsoft.com/office/drawing/2014/main" id="{0ACB42E4-A2BA-4F05-97F9-E43EE7846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04500" y="5922963"/>
                <a:ext cx="204788" cy="204788"/>
              </a:xfrm>
              <a:custGeom>
                <a:avLst/>
                <a:gdLst>
                  <a:gd name="T0" fmla="*/ 54 w 54"/>
                  <a:gd name="T1" fmla="*/ 15 h 54"/>
                  <a:gd name="T2" fmla="*/ 20 w 54"/>
                  <a:gd name="T3" fmla="*/ 50 h 54"/>
                  <a:gd name="T4" fmla="*/ 4 w 54"/>
                  <a:gd name="T5" fmla="*/ 50 h 54"/>
                  <a:gd name="T6" fmla="*/ 4 w 54"/>
                  <a:gd name="T7" fmla="*/ 34 h 54"/>
                  <a:gd name="T8" fmla="*/ 39 w 54"/>
                  <a:gd name="T9" fmla="*/ 0 h 54"/>
                  <a:gd name="T10" fmla="*/ 54 w 54"/>
                  <a:gd name="T11" fmla="*/ 15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54">
                    <a:moveTo>
                      <a:pt x="54" y="15"/>
                    </a:moveTo>
                    <a:cubicBezTo>
                      <a:pt x="20" y="50"/>
                      <a:pt x="20" y="50"/>
                      <a:pt x="20" y="50"/>
                    </a:cubicBezTo>
                    <a:cubicBezTo>
                      <a:pt x="15" y="54"/>
                      <a:pt x="8" y="54"/>
                      <a:pt x="4" y="50"/>
                    </a:cubicBezTo>
                    <a:cubicBezTo>
                      <a:pt x="0" y="45"/>
                      <a:pt x="0" y="38"/>
                      <a:pt x="4" y="34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43" y="6"/>
                      <a:pt x="48" y="11"/>
                      <a:pt x="54" y="15"/>
                    </a:cubicBezTo>
                    <a:close/>
                  </a:path>
                </a:pathLst>
              </a:custGeom>
              <a:solidFill>
                <a:srgbClr val="8446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7" name="Freeform 369">
                <a:extLst>
                  <a:ext uri="{FF2B5EF4-FFF2-40B4-BE49-F238E27FC236}">
                    <a16:creationId xmlns:a16="http://schemas.microsoft.com/office/drawing/2014/main" id="{E36109EF-0CF9-43D9-B290-3BED1D328A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04500" y="5922963"/>
                <a:ext cx="169863" cy="188913"/>
              </a:xfrm>
              <a:custGeom>
                <a:avLst/>
                <a:gdLst>
                  <a:gd name="T0" fmla="*/ 45 w 45"/>
                  <a:gd name="T1" fmla="*/ 8 h 50"/>
                  <a:gd name="T2" fmla="*/ 4 w 45"/>
                  <a:gd name="T3" fmla="*/ 50 h 50"/>
                  <a:gd name="T4" fmla="*/ 4 w 45"/>
                  <a:gd name="T5" fmla="*/ 34 h 50"/>
                  <a:gd name="T6" fmla="*/ 39 w 45"/>
                  <a:gd name="T7" fmla="*/ 0 h 50"/>
                  <a:gd name="T8" fmla="*/ 45 w 45"/>
                  <a:gd name="T9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50">
                    <a:moveTo>
                      <a:pt x="45" y="8"/>
                    </a:moveTo>
                    <a:cubicBezTo>
                      <a:pt x="4" y="50"/>
                      <a:pt x="4" y="50"/>
                      <a:pt x="4" y="50"/>
                    </a:cubicBezTo>
                    <a:cubicBezTo>
                      <a:pt x="0" y="45"/>
                      <a:pt x="0" y="38"/>
                      <a:pt x="4" y="34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41" y="3"/>
                      <a:pt x="43" y="6"/>
                      <a:pt x="45" y="8"/>
                    </a:cubicBezTo>
                    <a:close/>
                  </a:path>
                </a:pathLst>
              </a:custGeom>
              <a:solidFill>
                <a:srgbClr val="9C61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8" name="Oval 370">
                <a:extLst>
                  <a:ext uri="{FF2B5EF4-FFF2-40B4-BE49-F238E27FC236}">
                    <a16:creationId xmlns:a16="http://schemas.microsoft.com/office/drawing/2014/main" id="{E48A5C1D-9A2B-41C9-ADBF-BEB0BF46A9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150" y="5654675"/>
                <a:ext cx="352425" cy="3524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9" name="Freeform 371">
                <a:extLst>
                  <a:ext uri="{FF2B5EF4-FFF2-40B4-BE49-F238E27FC236}">
                    <a16:creationId xmlns:a16="http://schemas.microsoft.com/office/drawing/2014/main" id="{5D33A2C2-C5CD-4957-AEB8-AE23F602E1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02925" y="5632450"/>
                <a:ext cx="396875" cy="396875"/>
              </a:xfrm>
              <a:custGeom>
                <a:avLst/>
                <a:gdLst>
                  <a:gd name="T0" fmla="*/ 53 w 105"/>
                  <a:gd name="T1" fmla="*/ 0 h 105"/>
                  <a:gd name="T2" fmla="*/ 0 w 105"/>
                  <a:gd name="T3" fmla="*/ 52 h 105"/>
                  <a:gd name="T4" fmla="*/ 53 w 105"/>
                  <a:gd name="T5" fmla="*/ 105 h 105"/>
                  <a:gd name="T6" fmla="*/ 105 w 105"/>
                  <a:gd name="T7" fmla="*/ 52 h 105"/>
                  <a:gd name="T8" fmla="*/ 53 w 105"/>
                  <a:gd name="T9" fmla="*/ 0 h 105"/>
                  <a:gd name="T10" fmla="*/ 53 w 105"/>
                  <a:gd name="T11" fmla="*/ 6 h 105"/>
                  <a:gd name="T12" fmla="*/ 99 w 105"/>
                  <a:gd name="T13" fmla="*/ 52 h 105"/>
                  <a:gd name="T14" fmla="*/ 53 w 105"/>
                  <a:gd name="T15" fmla="*/ 99 h 105"/>
                  <a:gd name="T16" fmla="*/ 6 w 105"/>
                  <a:gd name="T17" fmla="*/ 52 h 105"/>
                  <a:gd name="T18" fmla="*/ 53 w 105"/>
                  <a:gd name="T19" fmla="*/ 6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105">
                    <a:moveTo>
                      <a:pt x="53" y="0"/>
                    </a:moveTo>
                    <a:cubicBezTo>
                      <a:pt x="24" y="0"/>
                      <a:pt x="0" y="23"/>
                      <a:pt x="0" y="52"/>
                    </a:cubicBezTo>
                    <a:cubicBezTo>
                      <a:pt x="0" y="82"/>
                      <a:pt x="24" y="105"/>
                      <a:pt x="53" y="105"/>
                    </a:cubicBezTo>
                    <a:cubicBezTo>
                      <a:pt x="82" y="105"/>
                      <a:pt x="105" y="82"/>
                      <a:pt x="105" y="52"/>
                    </a:cubicBezTo>
                    <a:cubicBezTo>
                      <a:pt x="105" y="23"/>
                      <a:pt x="82" y="0"/>
                      <a:pt x="53" y="0"/>
                    </a:cubicBezTo>
                    <a:close/>
                    <a:moveTo>
                      <a:pt x="53" y="6"/>
                    </a:moveTo>
                    <a:cubicBezTo>
                      <a:pt x="78" y="6"/>
                      <a:pt x="99" y="27"/>
                      <a:pt x="99" y="52"/>
                    </a:cubicBezTo>
                    <a:cubicBezTo>
                      <a:pt x="99" y="78"/>
                      <a:pt x="78" y="99"/>
                      <a:pt x="53" y="99"/>
                    </a:cubicBezTo>
                    <a:cubicBezTo>
                      <a:pt x="27" y="99"/>
                      <a:pt x="6" y="78"/>
                      <a:pt x="6" y="52"/>
                    </a:cubicBezTo>
                    <a:cubicBezTo>
                      <a:pt x="6" y="27"/>
                      <a:pt x="27" y="6"/>
                      <a:pt x="53" y="6"/>
                    </a:cubicBezTo>
                  </a:path>
                </a:pathLst>
              </a:custGeom>
              <a:solidFill>
                <a:srgbClr val="CF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0" name="Oval 372">
                <a:extLst>
                  <a:ext uri="{FF2B5EF4-FFF2-40B4-BE49-F238E27FC236}">
                    <a16:creationId xmlns:a16="http://schemas.microsoft.com/office/drawing/2014/main" id="{A78EA274-916D-471C-833C-AB32463003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3250" y="5689600"/>
                <a:ext cx="279400" cy="279400"/>
              </a:xfrm>
              <a:prstGeom prst="ellipse">
                <a:avLst/>
              </a:prstGeom>
              <a:solidFill>
                <a:srgbClr val="6FDA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1" name="Freeform 373">
                <a:extLst>
                  <a:ext uri="{FF2B5EF4-FFF2-40B4-BE49-F238E27FC236}">
                    <a16:creationId xmlns:a16="http://schemas.microsoft.com/office/drawing/2014/main" id="{8331D725-F462-43C5-BA9A-794179687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63250" y="5689600"/>
                <a:ext cx="238125" cy="238125"/>
              </a:xfrm>
              <a:custGeom>
                <a:avLst/>
                <a:gdLst>
                  <a:gd name="T0" fmla="*/ 37 w 63"/>
                  <a:gd name="T1" fmla="*/ 0 h 63"/>
                  <a:gd name="T2" fmla="*/ 0 w 63"/>
                  <a:gd name="T3" fmla="*/ 37 h 63"/>
                  <a:gd name="T4" fmla="*/ 10 w 63"/>
                  <a:gd name="T5" fmla="*/ 63 h 63"/>
                  <a:gd name="T6" fmla="*/ 63 w 63"/>
                  <a:gd name="T7" fmla="*/ 11 h 63"/>
                  <a:gd name="T8" fmla="*/ 37 w 63"/>
                  <a:gd name="T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63">
                    <a:moveTo>
                      <a:pt x="37" y="0"/>
                    </a:moveTo>
                    <a:cubicBezTo>
                      <a:pt x="16" y="0"/>
                      <a:pt x="0" y="17"/>
                      <a:pt x="0" y="37"/>
                    </a:cubicBezTo>
                    <a:cubicBezTo>
                      <a:pt x="0" y="48"/>
                      <a:pt x="4" y="57"/>
                      <a:pt x="10" y="63"/>
                    </a:cubicBezTo>
                    <a:cubicBezTo>
                      <a:pt x="63" y="11"/>
                      <a:pt x="63" y="11"/>
                      <a:pt x="63" y="11"/>
                    </a:cubicBezTo>
                    <a:cubicBezTo>
                      <a:pt x="56" y="5"/>
                      <a:pt x="47" y="0"/>
                      <a:pt x="37" y="0"/>
                    </a:cubicBezTo>
                    <a:close/>
                  </a:path>
                </a:pathLst>
              </a:custGeom>
              <a:solidFill>
                <a:srgbClr val="9CE5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2" name="Freeform 374">
                <a:extLst>
                  <a:ext uri="{FF2B5EF4-FFF2-40B4-BE49-F238E27FC236}">
                    <a16:creationId xmlns:a16="http://schemas.microsoft.com/office/drawing/2014/main" id="{1DFB4173-FFE0-4549-B478-1979F38CD5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7025" y="5419725"/>
                <a:ext cx="771525" cy="147638"/>
              </a:xfrm>
              <a:custGeom>
                <a:avLst/>
                <a:gdLst>
                  <a:gd name="T0" fmla="*/ 179 w 204"/>
                  <a:gd name="T1" fmla="*/ 0 h 39"/>
                  <a:gd name="T2" fmla="*/ 25 w 204"/>
                  <a:gd name="T3" fmla="*/ 0 h 39"/>
                  <a:gd name="T4" fmla="*/ 0 w 204"/>
                  <a:gd name="T5" fmla="*/ 26 h 39"/>
                  <a:gd name="T6" fmla="*/ 0 w 204"/>
                  <a:gd name="T7" fmla="*/ 39 h 39"/>
                  <a:gd name="T8" fmla="*/ 204 w 204"/>
                  <a:gd name="T9" fmla="*/ 39 h 39"/>
                  <a:gd name="T10" fmla="*/ 204 w 204"/>
                  <a:gd name="T11" fmla="*/ 26 h 39"/>
                  <a:gd name="T12" fmla="*/ 179 w 204"/>
                  <a:gd name="T13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39">
                    <a:moveTo>
                      <a:pt x="179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11" y="0"/>
                      <a:pt x="0" y="12"/>
                      <a:pt x="0" y="26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204" y="39"/>
                      <a:pt x="204" y="39"/>
                      <a:pt x="204" y="39"/>
                    </a:cubicBezTo>
                    <a:cubicBezTo>
                      <a:pt x="204" y="26"/>
                      <a:pt x="204" y="26"/>
                      <a:pt x="204" y="26"/>
                    </a:cubicBezTo>
                    <a:cubicBezTo>
                      <a:pt x="204" y="12"/>
                      <a:pt x="193" y="0"/>
                      <a:pt x="179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3" name="Oval 375">
                <a:extLst>
                  <a:ext uri="{FF2B5EF4-FFF2-40B4-BE49-F238E27FC236}">
                    <a16:creationId xmlns:a16="http://schemas.microsoft.com/office/drawing/2014/main" id="{111975E7-F3B2-4A1C-A51E-2FA59088AD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71163" y="5468938"/>
                <a:ext cx="49213" cy="49213"/>
              </a:xfrm>
              <a:prstGeom prst="ellipse">
                <a:avLst/>
              </a:pr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4" name="Oval 376">
                <a:extLst>
                  <a:ext uri="{FF2B5EF4-FFF2-40B4-BE49-F238E27FC236}">
                    <a16:creationId xmlns:a16="http://schemas.microsoft.com/office/drawing/2014/main" id="{7A8CF8EB-F8E2-4C75-8AEB-6A3F3D4086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69588" y="5468938"/>
                <a:ext cx="44450" cy="49213"/>
              </a:xfrm>
              <a:prstGeom prst="ellipse">
                <a:avLst/>
              </a:pr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5" name="Oval 377">
                <a:extLst>
                  <a:ext uri="{FF2B5EF4-FFF2-40B4-BE49-F238E27FC236}">
                    <a16:creationId xmlns:a16="http://schemas.microsoft.com/office/drawing/2014/main" id="{1BBE882E-3FCA-48D4-8E6A-DD9ED8675F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3250" y="5468938"/>
                <a:ext cx="49213" cy="49213"/>
              </a:xfrm>
              <a:prstGeom prst="ellipse">
                <a:avLst/>
              </a:prstGeom>
              <a:solidFill>
                <a:srgbClr val="17B1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28990BF-9A38-20C9-A551-BFB334F52EAC}"/>
              </a:ext>
            </a:extLst>
          </p:cNvPr>
          <p:cNvGrpSpPr/>
          <p:nvPr/>
        </p:nvGrpSpPr>
        <p:grpSpPr>
          <a:xfrm>
            <a:off x="7074409" y="984769"/>
            <a:ext cx="4784162" cy="971518"/>
            <a:chOff x="7074409" y="984769"/>
            <a:chExt cx="4784162" cy="971518"/>
          </a:xfrm>
        </p:grpSpPr>
        <p:sp>
          <p:nvSpPr>
            <p:cNvPr id="34" name="Freeform 46">
              <a:extLst>
                <a:ext uri="{FF2B5EF4-FFF2-40B4-BE49-F238E27FC236}">
                  <a16:creationId xmlns:a16="http://schemas.microsoft.com/office/drawing/2014/main" id="{B47F8AEC-0526-4A86-A53A-BDDC597416CE}"/>
                </a:ext>
              </a:extLst>
            </p:cNvPr>
            <p:cNvSpPr/>
            <p:nvPr/>
          </p:nvSpPr>
          <p:spPr>
            <a:xfrm>
              <a:off x="7225681" y="1104290"/>
              <a:ext cx="1989601" cy="73247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2FBDDD12-3C77-42DB-8FC3-015BD08CFBC9}"/>
                </a:ext>
              </a:extLst>
            </p:cNvPr>
            <p:cNvGrpSpPr/>
            <p:nvPr/>
          </p:nvGrpSpPr>
          <p:grpSpPr>
            <a:xfrm>
              <a:off x="7074409" y="984769"/>
              <a:ext cx="971518" cy="971518"/>
              <a:chOff x="7187500" y="839949"/>
              <a:chExt cx="1422400" cy="14224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17557160-3B88-4BD6-9B6B-2EB953316367}"/>
                  </a:ext>
                </a:extLst>
              </p:cNvPr>
              <p:cNvSpPr/>
              <p:nvPr/>
            </p:nvSpPr>
            <p:spPr>
              <a:xfrm>
                <a:off x="7187500" y="839949"/>
                <a:ext cx="1422400" cy="1422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6965462A-E6F0-45F8-B9C4-B22E3BB15E7A}"/>
                  </a:ext>
                </a:extLst>
              </p:cNvPr>
              <p:cNvSpPr/>
              <p:nvPr/>
            </p:nvSpPr>
            <p:spPr>
              <a:xfrm>
                <a:off x="7412941" y="1065390"/>
                <a:ext cx="971519" cy="971519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ffectLst>
                <a:outerShdw dist="635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1" name="Title 1">
              <a:extLst>
                <a:ext uri="{FF2B5EF4-FFF2-40B4-BE49-F238E27FC236}">
                  <a16:creationId xmlns:a16="http://schemas.microsoft.com/office/drawing/2014/main" id="{246F018F-2061-4376-B7CA-EA7870C7DF33}"/>
                </a:ext>
              </a:extLst>
            </p:cNvPr>
            <p:cNvSpPr txBox="1">
              <a:spLocks/>
            </p:cNvSpPr>
            <p:nvPr/>
          </p:nvSpPr>
          <p:spPr>
            <a:xfrm>
              <a:off x="8106203" y="1214879"/>
              <a:ext cx="1022164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ipelines</a:t>
              </a:r>
            </a:p>
          </p:txBody>
        </p:sp>
        <p:sp>
          <p:nvSpPr>
            <p:cNvPr id="37" name="Title 1">
              <a:extLst>
                <a:ext uri="{FF2B5EF4-FFF2-40B4-BE49-F238E27FC236}">
                  <a16:creationId xmlns:a16="http://schemas.microsoft.com/office/drawing/2014/main" id="{C8A0FE49-A2E6-4288-95C1-416B721FE671}"/>
                </a:ext>
              </a:extLst>
            </p:cNvPr>
            <p:cNvSpPr txBox="1">
              <a:spLocks/>
            </p:cNvSpPr>
            <p:nvPr/>
          </p:nvSpPr>
          <p:spPr>
            <a:xfrm>
              <a:off x="9448630" y="1214879"/>
              <a:ext cx="2409941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ually triggered on demand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A84E2044-D88D-4B2F-BFB6-D4D8F0C7B05B}"/>
                </a:ext>
              </a:extLst>
            </p:cNvPr>
            <p:cNvGrpSpPr/>
            <p:nvPr/>
          </p:nvGrpSpPr>
          <p:grpSpPr>
            <a:xfrm>
              <a:off x="7392128" y="1324032"/>
              <a:ext cx="336080" cy="292993"/>
              <a:chOff x="1216026" y="5511800"/>
              <a:chExt cx="681038" cy="593725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8" name="Freeform 437">
                <a:extLst>
                  <a:ext uri="{FF2B5EF4-FFF2-40B4-BE49-F238E27FC236}">
                    <a16:creationId xmlns:a16="http://schemas.microsoft.com/office/drawing/2014/main" id="{0A4487A2-573C-4F43-986C-9D98A08D1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6026" y="5511800"/>
                <a:ext cx="681038" cy="593725"/>
              </a:xfrm>
              <a:custGeom>
                <a:avLst/>
                <a:gdLst>
                  <a:gd name="T0" fmla="*/ 245 w 429"/>
                  <a:gd name="T1" fmla="*/ 0 h 374"/>
                  <a:gd name="T2" fmla="*/ 0 w 429"/>
                  <a:gd name="T3" fmla="*/ 90 h 374"/>
                  <a:gd name="T4" fmla="*/ 0 w 429"/>
                  <a:gd name="T5" fmla="*/ 281 h 374"/>
                  <a:gd name="T6" fmla="*/ 183 w 429"/>
                  <a:gd name="T7" fmla="*/ 374 h 374"/>
                  <a:gd name="T8" fmla="*/ 429 w 429"/>
                  <a:gd name="T9" fmla="*/ 281 h 374"/>
                  <a:gd name="T10" fmla="*/ 429 w 429"/>
                  <a:gd name="T11" fmla="*/ 90 h 374"/>
                  <a:gd name="T12" fmla="*/ 245 w 429"/>
                  <a:gd name="T13" fmla="*/ 0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9" h="374">
                    <a:moveTo>
                      <a:pt x="245" y="0"/>
                    </a:moveTo>
                    <a:lnTo>
                      <a:pt x="0" y="90"/>
                    </a:lnTo>
                    <a:lnTo>
                      <a:pt x="0" y="281"/>
                    </a:lnTo>
                    <a:lnTo>
                      <a:pt x="183" y="374"/>
                    </a:lnTo>
                    <a:lnTo>
                      <a:pt x="429" y="281"/>
                    </a:lnTo>
                    <a:lnTo>
                      <a:pt x="429" y="90"/>
                    </a:lnTo>
                    <a:lnTo>
                      <a:pt x="245" y="0"/>
                    </a:lnTo>
                    <a:close/>
                  </a:path>
                </a:pathLst>
              </a:custGeom>
              <a:solidFill>
                <a:srgbClr val="FCF6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9" name="Freeform 438">
                <a:extLst>
                  <a:ext uri="{FF2B5EF4-FFF2-40B4-BE49-F238E27FC236}">
                    <a16:creationId xmlns:a16="http://schemas.microsoft.com/office/drawing/2014/main" id="{DFCC6E98-013A-4C08-B399-60D44CE74D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6538" y="5654675"/>
                <a:ext cx="390525" cy="450850"/>
              </a:xfrm>
              <a:custGeom>
                <a:avLst/>
                <a:gdLst>
                  <a:gd name="T0" fmla="*/ 246 w 246"/>
                  <a:gd name="T1" fmla="*/ 191 h 284"/>
                  <a:gd name="T2" fmla="*/ 0 w 246"/>
                  <a:gd name="T3" fmla="*/ 284 h 284"/>
                  <a:gd name="T4" fmla="*/ 0 w 246"/>
                  <a:gd name="T5" fmla="*/ 93 h 284"/>
                  <a:gd name="T6" fmla="*/ 246 w 246"/>
                  <a:gd name="T7" fmla="*/ 0 h 284"/>
                  <a:gd name="T8" fmla="*/ 246 w 246"/>
                  <a:gd name="T9" fmla="*/ 191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6" h="284">
                    <a:moveTo>
                      <a:pt x="246" y="191"/>
                    </a:moveTo>
                    <a:lnTo>
                      <a:pt x="0" y="284"/>
                    </a:lnTo>
                    <a:lnTo>
                      <a:pt x="0" y="93"/>
                    </a:lnTo>
                    <a:lnTo>
                      <a:pt x="246" y="0"/>
                    </a:lnTo>
                    <a:lnTo>
                      <a:pt x="246" y="191"/>
                    </a:lnTo>
                    <a:close/>
                  </a:path>
                </a:pathLst>
              </a:cu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439">
                <a:extLst>
                  <a:ext uri="{FF2B5EF4-FFF2-40B4-BE49-F238E27FC236}">
                    <a16:creationId xmlns:a16="http://schemas.microsoft.com/office/drawing/2014/main" id="{6E852949-DA86-424A-8FA2-113ABD0CC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6026" y="5654675"/>
                <a:ext cx="290513" cy="450850"/>
              </a:xfrm>
              <a:custGeom>
                <a:avLst/>
                <a:gdLst>
                  <a:gd name="T0" fmla="*/ 0 w 183"/>
                  <a:gd name="T1" fmla="*/ 191 h 284"/>
                  <a:gd name="T2" fmla="*/ 183 w 183"/>
                  <a:gd name="T3" fmla="*/ 284 h 284"/>
                  <a:gd name="T4" fmla="*/ 183 w 183"/>
                  <a:gd name="T5" fmla="*/ 93 h 284"/>
                  <a:gd name="T6" fmla="*/ 0 w 183"/>
                  <a:gd name="T7" fmla="*/ 0 h 284"/>
                  <a:gd name="T8" fmla="*/ 0 w 183"/>
                  <a:gd name="T9" fmla="*/ 191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" h="284">
                    <a:moveTo>
                      <a:pt x="0" y="191"/>
                    </a:moveTo>
                    <a:lnTo>
                      <a:pt x="183" y="284"/>
                    </a:lnTo>
                    <a:lnTo>
                      <a:pt x="183" y="93"/>
                    </a:lnTo>
                    <a:lnTo>
                      <a:pt x="0" y="0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Freeform 440">
                <a:extLst>
                  <a:ext uri="{FF2B5EF4-FFF2-40B4-BE49-F238E27FC236}">
                    <a16:creationId xmlns:a16="http://schemas.microsoft.com/office/drawing/2014/main" id="{94E543AD-72C3-41EB-9366-18920D3E7E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7326" y="5681663"/>
                <a:ext cx="147638" cy="71438"/>
              </a:xfrm>
              <a:custGeom>
                <a:avLst/>
                <a:gdLst>
                  <a:gd name="T0" fmla="*/ 39 w 39"/>
                  <a:gd name="T1" fmla="*/ 0 h 19"/>
                  <a:gd name="T2" fmla="*/ 39 w 39"/>
                  <a:gd name="T3" fmla="*/ 12 h 19"/>
                  <a:gd name="T4" fmla="*/ 20 w 39"/>
                  <a:gd name="T5" fmla="*/ 19 h 19"/>
                  <a:gd name="T6" fmla="*/ 0 w 39"/>
                  <a:gd name="T7" fmla="*/ 12 h 19"/>
                  <a:gd name="T8" fmla="*/ 0 w 39"/>
                  <a:gd name="T9" fmla="*/ 0 h 19"/>
                  <a:gd name="T10" fmla="*/ 20 w 39"/>
                  <a:gd name="T11" fmla="*/ 6 h 19"/>
                  <a:gd name="T12" fmla="*/ 39 w 39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19">
                    <a:moveTo>
                      <a:pt x="39" y="0"/>
                    </a:moveTo>
                    <a:cubicBezTo>
                      <a:pt x="39" y="12"/>
                      <a:pt x="39" y="12"/>
                      <a:pt x="39" y="12"/>
                    </a:cubicBezTo>
                    <a:cubicBezTo>
                      <a:pt x="39" y="16"/>
                      <a:pt x="30" y="19"/>
                      <a:pt x="20" y="19"/>
                    </a:cubicBezTo>
                    <a:cubicBezTo>
                      <a:pt x="9" y="19"/>
                      <a:pt x="0" y="16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9" y="6"/>
                      <a:pt x="20" y="6"/>
                    </a:cubicBezTo>
                    <a:cubicBezTo>
                      <a:pt x="30" y="6"/>
                      <a:pt x="39" y="3"/>
                      <a:pt x="39" y="0"/>
                    </a:cubicBezTo>
                    <a:close/>
                  </a:path>
                </a:pathLst>
              </a:cu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Oval 441">
                <a:extLst>
                  <a:ext uri="{FF2B5EF4-FFF2-40B4-BE49-F238E27FC236}">
                    <a16:creationId xmlns:a16="http://schemas.microsoft.com/office/drawing/2014/main" id="{13D38C20-3A27-4AD7-8BF7-B786142E4C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7326" y="5654675"/>
                <a:ext cx="147638" cy="49213"/>
              </a:xfrm>
              <a:prstGeom prst="ellipse">
                <a:avLst/>
              </a:prstGeom>
              <a:solidFill>
                <a:srgbClr val="FCF6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442">
                <a:extLst>
                  <a:ext uri="{FF2B5EF4-FFF2-40B4-BE49-F238E27FC236}">
                    <a16:creationId xmlns:a16="http://schemas.microsoft.com/office/drawing/2014/main" id="{9AD04A53-1710-4EB6-9AB9-D044C3485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4451" y="5605463"/>
                <a:ext cx="142875" cy="76200"/>
              </a:xfrm>
              <a:custGeom>
                <a:avLst/>
                <a:gdLst>
                  <a:gd name="T0" fmla="*/ 38 w 38"/>
                  <a:gd name="T1" fmla="*/ 0 h 20"/>
                  <a:gd name="T2" fmla="*/ 38 w 38"/>
                  <a:gd name="T3" fmla="*/ 13 h 20"/>
                  <a:gd name="T4" fmla="*/ 19 w 38"/>
                  <a:gd name="T5" fmla="*/ 20 h 20"/>
                  <a:gd name="T6" fmla="*/ 0 w 38"/>
                  <a:gd name="T7" fmla="*/ 13 h 20"/>
                  <a:gd name="T8" fmla="*/ 0 w 38"/>
                  <a:gd name="T9" fmla="*/ 0 h 20"/>
                  <a:gd name="T10" fmla="*/ 19 w 38"/>
                  <a:gd name="T11" fmla="*/ 7 h 20"/>
                  <a:gd name="T12" fmla="*/ 38 w 38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20">
                    <a:moveTo>
                      <a:pt x="38" y="0"/>
                    </a:moveTo>
                    <a:cubicBezTo>
                      <a:pt x="38" y="13"/>
                      <a:pt x="38" y="13"/>
                      <a:pt x="38" y="13"/>
                    </a:cubicBezTo>
                    <a:cubicBezTo>
                      <a:pt x="38" y="17"/>
                      <a:pt x="30" y="20"/>
                      <a:pt x="19" y="20"/>
                    </a:cubicBezTo>
                    <a:cubicBezTo>
                      <a:pt x="9" y="20"/>
                      <a:pt x="0" y="17"/>
                      <a:pt x="0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9" y="7"/>
                      <a:pt x="19" y="7"/>
                    </a:cubicBezTo>
                    <a:cubicBezTo>
                      <a:pt x="30" y="7"/>
                      <a:pt x="38" y="4"/>
                      <a:pt x="38" y="0"/>
                    </a:cubicBezTo>
                    <a:close/>
                  </a:path>
                </a:pathLst>
              </a:cu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" name="Oval 443">
                <a:extLst>
                  <a:ext uri="{FF2B5EF4-FFF2-40B4-BE49-F238E27FC236}">
                    <a16:creationId xmlns:a16="http://schemas.microsoft.com/office/drawing/2014/main" id="{9E16199A-699E-4B5E-B84A-52CA293C0C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4451" y="5583238"/>
                <a:ext cx="142875" cy="49213"/>
              </a:xfrm>
              <a:prstGeom prst="ellipse">
                <a:avLst/>
              </a:prstGeom>
              <a:solidFill>
                <a:srgbClr val="FCF6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5" name="Freeform 444">
                <a:extLst>
                  <a:ext uri="{FF2B5EF4-FFF2-40B4-BE49-F238E27FC236}">
                    <a16:creationId xmlns:a16="http://schemas.microsoft.com/office/drawing/2014/main" id="{7D472713-64D7-41CA-A289-C9B712817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6538" y="5534025"/>
                <a:ext cx="147638" cy="71438"/>
              </a:xfrm>
              <a:custGeom>
                <a:avLst/>
                <a:gdLst>
                  <a:gd name="T0" fmla="*/ 39 w 39"/>
                  <a:gd name="T1" fmla="*/ 0 h 19"/>
                  <a:gd name="T2" fmla="*/ 39 w 39"/>
                  <a:gd name="T3" fmla="*/ 13 h 19"/>
                  <a:gd name="T4" fmla="*/ 19 w 39"/>
                  <a:gd name="T5" fmla="*/ 19 h 19"/>
                  <a:gd name="T6" fmla="*/ 0 w 39"/>
                  <a:gd name="T7" fmla="*/ 13 h 19"/>
                  <a:gd name="T8" fmla="*/ 0 w 39"/>
                  <a:gd name="T9" fmla="*/ 0 h 19"/>
                  <a:gd name="T10" fmla="*/ 19 w 39"/>
                  <a:gd name="T11" fmla="*/ 7 h 19"/>
                  <a:gd name="T12" fmla="*/ 39 w 39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19">
                    <a:moveTo>
                      <a:pt x="39" y="0"/>
                    </a:move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17"/>
                      <a:pt x="30" y="19"/>
                      <a:pt x="19" y="19"/>
                    </a:cubicBezTo>
                    <a:cubicBezTo>
                      <a:pt x="9" y="19"/>
                      <a:pt x="0" y="17"/>
                      <a:pt x="0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9" y="7"/>
                      <a:pt x="19" y="7"/>
                    </a:cubicBezTo>
                    <a:cubicBezTo>
                      <a:pt x="30" y="7"/>
                      <a:pt x="39" y="4"/>
                      <a:pt x="39" y="0"/>
                    </a:cubicBezTo>
                    <a:close/>
                  </a:path>
                </a:pathLst>
              </a:cu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6" name="Oval 445">
                <a:extLst>
                  <a:ext uri="{FF2B5EF4-FFF2-40B4-BE49-F238E27FC236}">
                    <a16:creationId xmlns:a16="http://schemas.microsoft.com/office/drawing/2014/main" id="{15B75979-837A-4A22-BE57-A7B02A0FFC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6538" y="5511800"/>
                <a:ext cx="147638" cy="49213"/>
              </a:xfrm>
              <a:prstGeom prst="ellipse">
                <a:avLst/>
              </a:prstGeom>
              <a:solidFill>
                <a:srgbClr val="FCF6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7" name="Freeform 446">
                <a:extLst>
                  <a:ext uri="{FF2B5EF4-FFF2-40B4-BE49-F238E27FC236}">
                    <a16:creationId xmlns:a16="http://schemas.microsoft.com/office/drawing/2014/main" id="{0AD5E430-A826-4820-B5B6-B238B283D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176" y="5605463"/>
                <a:ext cx="144463" cy="76200"/>
              </a:xfrm>
              <a:custGeom>
                <a:avLst/>
                <a:gdLst>
                  <a:gd name="T0" fmla="*/ 38 w 38"/>
                  <a:gd name="T1" fmla="*/ 0 h 20"/>
                  <a:gd name="T2" fmla="*/ 38 w 38"/>
                  <a:gd name="T3" fmla="*/ 13 h 20"/>
                  <a:gd name="T4" fmla="*/ 19 w 38"/>
                  <a:gd name="T5" fmla="*/ 20 h 20"/>
                  <a:gd name="T6" fmla="*/ 0 w 38"/>
                  <a:gd name="T7" fmla="*/ 13 h 20"/>
                  <a:gd name="T8" fmla="*/ 0 w 38"/>
                  <a:gd name="T9" fmla="*/ 0 h 20"/>
                  <a:gd name="T10" fmla="*/ 19 w 38"/>
                  <a:gd name="T11" fmla="*/ 7 h 20"/>
                  <a:gd name="T12" fmla="*/ 38 w 38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20">
                    <a:moveTo>
                      <a:pt x="38" y="0"/>
                    </a:moveTo>
                    <a:cubicBezTo>
                      <a:pt x="38" y="13"/>
                      <a:pt x="38" y="13"/>
                      <a:pt x="38" y="13"/>
                    </a:cubicBezTo>
                    <a:cubicBezTo>
                      <a:pt x="38" y="17"/>
                      <a:pt x="29" y="20"/>
                      <a:pt x="19" y="20"/>
                    </a:cubicBezTo>
                    <a:cubicBezTo>
                      <a:pt x="8" y="20"/>
                      <a:pt x="0" y="17"/>
                      <a:pt x="0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8" y="7"/>
                      <a:pt x="19" y="7"/>
                    </a:cubicBezTo>
                    <a:cubicBezTo>
                      <a:pt x="29" y="7"/>
                      <a:pt x="38" y="4"/>
                      <a:pt x="38" y="0"/>
                    </a:cubicBezTo>
                    <a:close/>
                  </a:path>
                </a:pathLst>
              </a:cu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8" name="Oval 447">
                <a:extLst>
                  <a:ext uri="{FF2B5EF4-FFF2-40B4-BE49-F238E27FC236}">
                    <a16:creationId xmlns:a16="http://schemas.microsoft.com/office/drawing/2014/main" id="{14F9E393-61F4-41FC-9654-337D5698A6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54176" y="5583238"/>
                <a:ext cx="144463" cy="49213"/>
              </a:xfrm>
              <a:prstGeom prst="ellipse">
                <a:avLst/>
              </a:prstGeom>
              <a:solidFill>
                <a:srgbClr val="FCF6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38288FF-8833-DC50-B4E0-21B68606FED4}"/>
              </a:ext>
            </a:extLst>
          </p:cNvPr>
          <p:cNvGrpSpPr/>
          <p:nvPr/>
        </p:nvGrpSpPr>
        <p:grpSpPr>
          <a:xfrm>
            <a:off x="7074409" y="4856124"/>
            <a:ext cx="4363822" cy="971518"/>
            <a:chOff x="7074409" y="4856124"/>
            <a:chExt cx="4363822" cy="971518"/>
          </a:xfrm>
        </p:grpSpPr>
        <p:sp>
          <p:nvSpPr>
            <p:cNvPr id="36" name="Freeform 46">
              <a:extLst>
                <a:ext uri="{FF2B5EF4-FFF2-40B4-BE49-F238E27FC236}">
                  <a16:creationId xmlns:a16="http://schemas.microsoft.com/office/drawing/2014/main" id="{DC3678E8-E328-4F87-817A-3696F6E2EB7A}"/>
                </a:ext>
              </a:extLst>
            </p:cNvPr>
            <p:cNvSpPr/>
            <p:nvPr/>
          </p:nvSpPr>
          <p:spPr>
            <a:xfrm>
              <a:off x="7225681" y="4961915"/>
              <a:ext cx="1989601" cy="73247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EE1CABC-4ED7-444D-AE75-BCE325B91580}"/>
                </a:ext>
              </a:extLst>
            </p:cNvPr>
            <p:cNvGrpSpPr/>
            <p:nvPr/>
          </p:nvGrpSpPr>
          <p:grpSpPr>
            <a:xfrm>
              <a:off x="7074409" y="4856124"/>
              <a:ext cx="971518" cy="971518"/>
              <a:chOff x="7187500" y="839949"/>
              <a:chExt cx="1422400" cy="14224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4B5B7F71-CE1F-41E1-9696-A6D450502C82}"/>
                  </a:ext>
                </a:extLst>
              </p:cNvPr>
              <p:cNvSpPr/>
              <p:nvPr/>
            </p:nvSpPr>
            <p:spPr>
              <a:xfrm>
                <a:off x="7187500" y="839949"/>
                <a:ext cx="1422400" cy="1422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547A7379-3B63-47B1-A78C-F06AD7855627}"/>
                  </a:ext>
                </a:extLst>
              </p:cNvPr>
              <p:cNvSpPr/>
              <p:nvPr/>
            </p:nvSpPr>
            <p:spPr>
              <a:xfrm>
                <a:off x="7412941" y="1065390"/>
                <a:ext cx="971519" cy="971519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ffectLst>
                <a:outerShdw dist="635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2" name="Title 1">
              <a:extLst>
                <a:ext uri="{FF2B5EF4-FFF2-40B4-BE49-F238E27FC236}">
                  <a16:creationId xmlns:a16="http://schemas.microsoft.com/office/drawing/2014/main" id="{A4781CB8-6941-4A5A-B54F-1F881A26A730}"/>
                </a:ext>
              </a:extLst>
            </p:cNvPr>
            <p:cNvSpPr txBox="1">
              <a:spLocks/>
            </p:cNvSpPr>
            <p:nvPr/>
          </p:nvSpPr>
          <p:spPr>
            <a:xfrm>
              <a:off x="8125296" y="5086235"/>
              <a:ext cx="931162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talog</a:t>
              </a:r>
            </a:p>
          </p:txBody>
        </p:sp>
        <p:sp>
          <p:nvSpPr>
            <p:cNvPr id="39" name="Title 1">
              <a:extLst>
                <a:ext uri="{FF2B5EF4-FFF2-40B4-BE49-F238E27FC236}">
                  <a16:creationId xmlns:a16="http://schemas.microsoft.com/office/drawing/2014/main" id="{4D0DD9E9-8C48-41FB-81FC-E16539A15F21}"/>
                </a:ext>
              </a:extLst>
            </p:cNvPr>
            <p:cNvSpPr txBox="1">
              <a:spLocks/>
            </p:cNvSpPr>
            <p:nvPr/>
          </p:nvSpPr>
          <p:spPr>
            <a:xfrm>
              <a:off x="9448630" y="5072504"/>
              <a:ext cx="1989601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grammatically triggered on request</a:t>
              </a: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C81A39A6-2A1D-46DA-872A-BFF7104E18A4}"/>
                </a:ext>
              </a:extLst>
            </p:cNvPr>
            <p:cNvGrpSpPr/>
            <p:nvPr/>
          </p:nvGrpSpPr>
          <p:grpSpPr>
            <a:xfrm>
              <a:off x="7402840" y="5193619"/>
              <a:ext cx="314657" cy="296529"/>
              <a:chOff x="1169988" y="5418138"/>
              <a:chExt cx="771526" cy="727076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71" name="Freeform 456">
                <a:extLst>
                  <a:ext uri="{FF2B5EF4-FFF2-40B4-BE49-F238E27FC236}">
                    <a16:creationId xmlns:a16="http://schemas.microsoft.com/office/drawing/2014/main" id="{8E5C5B5C-6AB0-4AAD-BB18-E14840F75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988" y="6099176"/>
                <a:ext cx="771525" cy="46038"/>
              </a:xfrm>
              <a:custGeom>
                <a:avLst/>
                <a:gdLst>
                  <a:gd name="T0" fmla="*/ 204 w 204"/>
                  <a:gd name="T1" fmla="*/ 12 h 12"/>
                  <a:gd name="T2" fmla="*/ 0 w 204"/>
                  <a:gd name="T3" fmla="*/ 12 h 12"/>
                  <a:gd name="T4" fmla="*/ 0 w 204"/>
                  <a:gd name="T5" fmla="*/ 12 h 12"/>
                  <a:gd name="T6" fmla="*/ 12 w 204"/>
                  <a:gd name="T7" fmla="*/ 0 h 12"/>
                  <a:gd name="T8" fmla="*/ 192 w 204"/>
                  <a:gd name="T9" fmla="*/ 0 h 12"/>
                  <a:gd name="T10" fmla="*/ 204 w 204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4" h="12">
                    <a:moveTo>
                      <a:pt x="204" y="12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99" y="0"/>
                      <a:pt x="204" y="5"/>
                      <a:pt x="204" y="12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2" name="Rectangle 457">
                <a:extLst>
                  <a:ext uri="{FF2B5EF4-FFF2-40B4-BE49-F238E27FC236}">
                    <a16:creationId xmlns:a16="http://schemas.microsoft.com/office/drawing/2014/main" id="{E6F5ED6C-9CE1-4A24-BCC5-5F8CEABD66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6026" y="5661026"/>
                <a:ext cx="681038" cy="4381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3" name="Freeform 458">
                <a:extLst>
                  <a:ext uri="{FF2B5EF4-FFF2-40B4-BE49-F238E27FC236}">
                    <a16:creationId xmlns:a16="http://schemas.microsoft.com/office/drawing/2014/main" id="{13F014E9-A572-41DC-8502-D17BDDDF2B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988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4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2" y="13"/>
                      <a:pt x="14" y="13"/>
                    </a:cubicBezTo>
                    <a:cubicBezTo>
                      <a:pt x="6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4" name="Freeform 459">
                <a:extLst>
                  <a:ext uri="{FF2B5EF4-FFF2-40B4-BE49-F238E27FC236}">
                    <a16:creationId xmlns:a16="http://schemas.microsoft.com/office/drawing/2014/main" id="{AE7FF3AC-4FE1-45C4-A4A5-E644CC06E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526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4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3" y="13"/>
                      <a:pt x="14" y="13"/>
                    </a:cubicBezTo>
                    <a:cubicBezTo>
                      <a:pt x="6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CF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5" name="Freeform 460">
                <a:extLst>
                  <a:ext uri="{FF2B5EF4-FFF2-40B4-BE49-F238E27FC236}">
                    <a16:creationId xmlns:a16="http://schemas.microsoft.com/office/drawing/2014/main" id="{6B20B824-439B-40A9-A394-12930C5F7F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9063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5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3" y="13"/>
                      <a:pt x="15" y="13"/>
                    </a:cubicBezTo>
                    <a:cubicBezTo>
                      <a:pt x="7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6" name="Freeform 461">
                <a:extLst>
                  <a:ext uri="{FF2B5EF4-FFF2-40B4-BE49-F238E27FC236}">
                    <a16:creationId xmlns:a16="http://schemas.microsoft.com/office/drawing/2014/main" id="{F66B28CF-70F6-48DC-A7EC-22162E00E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601" y="5661026"/>
                <a:ext cx="114300" cy="49213"/>
              </a:xfrm>
              <a:custGeom>
                <a:avLst/>
                <a:gdLst>
                  <a:gd name="T0" fmla="*/ 30 w 30"/>
                  <a:gd name="T1" fmla="*/ 0 h 13"/>
                  <a:gd name="T2" fmla="*/ 15 w 30"/>
                  <a:gd name="T3" fmla="*/ 13 h 13"/>
                  <a:gd name="T4" fmla="*/ 0 w 30"/>
                  <a:gd name="T5" fmla="*/ 0 h 13"/>
                  <a:gd name="T6" fmla="*/ 30 w 30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13">
                    <a:moveTo>
                      <a:pt x="30" y="0"/>
                    </a:moveTo>
                    <a:cubicBezTo>
                      <a:pt x="30" y="7"/>
                      <a:pt x="23" y="13"/>
                      <a:pt x="15" y="13"/>
                    </a:cubicBezTo>
                    <a:cubicBezTo>
                      <a:pt x="7" y="13"/>
                      <a:pt x="0" y="7"/>
                      <a:pt x="0" y="0"/>
                    </a:cubicBez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CF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7" name="Freeform 462">
                <a:extLst>
                  <a:ext uri="{FF2B5EF4-FFF2-40B4-BE49-F238E27FC236}">
                    <a16:creationId xmlns:a16="http://schemas.microsoft.com/office/drawing/2014/main" id="{6AAD7025-547A-45E0-B5E3-DD3FF3485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2438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5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3" y="13"/>
                      <a:pt x="15" y="13"/>
                    </a:cubicBezTo>
                    <a:cubicBezTo>
                      <a:pt x="6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CF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8" name="Freeform 463">
                <a:extLst>
                  <a:ext uri="{FF2B5EF4-FFF2-40B4-BE49-F238E27FC236}">
                    <a16:creationId xmlns:a16="http://schemas.microsoft.com/office/drawing/2014/main" id="{D9E4EB3F-40F8-41E6-BE3D-4D0DA6E21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2901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4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2" y="13"/>
                      <a:pt x="14" y="13"/>
                    </a:cubicBezTo>
                    <a:cubicBezTo>
                      <a:pt x="6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9" name="Freeform 464">
                <a:extLst>
                  <a:ext uri="{FF2B5EF4-FFF2-40B4-BE49-F238E27FC236}">
                    <a16:creationId xmlns:a16="http://schemas.microsoft.com/office/drawing/2014/main" id="{CD673867-7EB2-4F61-B276-66C6891699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1976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5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3" y="13"/>
                      <a:pt x="15" y="13"/>
                    </a:cubicBezTo>
                    <a:cubicBezTo>
                      <a:pt x="7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0" name="Freeform 465">
                <a:extLst>
                  <a:ext uri="{FF2B5EF4-FFF2-40B4-BE49-F238E27FC236}">
                    <a16:creationId xmlns:a16="http://schemas.microsoft.com/office/drawing/2014/main" id="{CB1E454A-D500-44AB-A889-9FFDF3791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988" y="5418138"/>
                <a:ext cx="204788" cy="242888"/>
              </a:xfrm>
              <a:custGeom>
                <a:avLst/>
                <a:gdLst>
                  <a:gd name="T0" fmla="*/ 0 w 129"/>
                  <a:gd name="T1" fmla="*/ 153 h 153"/>
                  <a:gd name="T2" fmla="*/ 69 w 129"/>
                  <a:gd name="T3" fmla="*/ 153 h 153"/>
                  <a:gd name="T4" fmla="*/ 129 w 129"/>
                  <a:gd name="T5" fmla="*/ 0 h 153"/>
                  <a:gd name="T6" fmla="*/ 69 w 129"/>
                  <a:gd name="T7" fmla="*/ 0 h 153"/>
                  <a:gd name="T8" fmla="*/ 0 w 129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53">
                    <a:moveTo>
                      <a:pt x="0" y="153"/>
                    </a:moveTo>
                    <a:lnTo>
                      <a:pt x="69" y="153"/>
                    </a:lnTo>
                    <a:lnTo>
                      <a:pt x="129" y="0"/>
                    </a:lnTo>
                    <a:lnTo>
                      <a:pt x="69" y="0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1" name="Freeform 466">
                <a:extLst>
                  <a:ext uri="{FF2B5EF4-FFF2-40B4-BE49-F238E27FC236}">
                    <a16:creationId xmlns:a16="http://schemas.microsoft.com/office/drawing/2014/main" id="{0A3991F8-FBEC-4CA9-A150-0D6BC4C46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526" y="5418138"/>
                <a:ext cx="177800" cy="242888"/>
              </a:xfrm>
              <a:custGeom>
                <a:avLst/>
                <a:gdLst>
                  <a:gd name="T0" fmla="*/ 0 w 112"/>
                  <a:gd name="T1" fmla="*/ 153 h 153"/>
                  <a:gd name="T2" fmla="*/ 69 w 112"/>
                  <a:gd name="T3" fmla="*/ 153 h 153"/>
                  <a:gd name="T4" fmla="*/ 112 w 112"/>
                  <a:gd name="T5" fmla="*/ 0 h 153"/>
                  <a:gd name="T6" fmla="*/ 60 w 112"/>
                  <a:gd name="T7" fmla="*/ 0 h 153"/>
                  <a:gd name="T8" fmla="*/ 0 w 112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153">
                    <a:moveTo>
                      <a:pt x="0" y="153"/>
                    </a:moveTo>
                    <a:lnTo>
                      <a:pt x="69" y="153"/>
                    </a:lnTo>
                    <a:lnTo>
                      <a:pt x="112" y="0"/>
                    </a:lnTo>
                    <a:lnTo>
                      <a:pt x="60" y="0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2" name="Freeform 467">
                <a:extLst>
                  <a:ext uri="{FF2B5EF4-FFF2-40B4-BE49-F238E27FC236}">
                    <a16:creationId xmlns:a16="http://schemas.microsoft.com/office/drawing/2014/main" id="{BB93F745-7B7D-4B8B-8179-E4A6027AC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9063" y="5418138"/>
                <a:ext cx="152400" cy="242888"/>
              </a:xfrm>
              <a:custGeom>
                <a:avLst/>
                <a:gdLst>
                  <a:gd name="T0" fmla="*/ 0 w 96"/>
                  <a:gd name="T1" fmla="*/ 153 h 153"/>
                  <a:gd name="T2" fmla="*/ 69 w 96"/>
                  <a:gd name="T3" fmla="*/ 153 h 153"/>
                  <a:gd name="T4" fmla="*/ 96 w 96"/>
                  <a:gd name="T5" fmla="*/ 0 h 153"/>
                  <a:gd name="T6" fmla="*/ 43 w 96"/>
                  <a:gd name="T7" fmla="*/ 0 h 153"/>
                  <a:gd name="T8" fmla="*/ 0 w 96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153">
                    <a:moveTo>
                      <a:pt x="0" y="153"/>
                    </a:moveTo>
                    <a:lnTo>
                      <a:pt x="69" y="153"/>
                    </a:lnTo>
                    <a:lnTo>
                      <a:pt x="96" y="0"/>
                    </a:lnTo>
                    <a:lnTo>
                      <a:pt x="43" y="0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3" name="Freeform 468">
                <a:extLst>
                  <a:ext uri="{FF2B5EF4-FFF2-40B4-BE49-F238E27FC236}">
                    <a16:creationId xmlns:a16="http://schemas.microsoft.com/office/drawing/2014/main" id="{18CA3599-BA5D-4726-A23E-1B472B9AA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601" y="5418138"/>
                <a:ext cx="114300" cy="242888"/>
              </a:xfrm>
              <a:custGeom>
                <a:avLst/>
                <a:gdLst>
                  <a:gd name="T0" fmla="*/ 0 w 72"/>
                  <a:gd name="T1" fmla="*/ 153 h 153"/>
                  <a:gd name="T2" fmla="*/ 72 w 72"/>
                  <a:gd name="T3" fmla="*/ 153 h 153"/>
                  <a:gd name="T4" fmla="*/ 72 w 72"/>
                  <a:gd name="T5" fmla="*/ 0 h 153"/>
                  <a:gd name="T6" fmla="*/ 27 w 72"/>
                  <a:gd name="T7" fmla="*/ 0 h 153"/>
                  <a:gd name="T8" fmla="*/ 0 w 72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53">
                    <a:moveTo>
                      <a:pt x="0" y="153"/>
                    </a:moveTo>
                    <a:lnTo>
                      <a:pt x="72" y="153"/>
                    </a:lnTo>
                    <a:lnTo>
                      <a:pt x="72" y="0"/>
                    </a:lnTo>
                    <a:lnTo>
                      <a:pt x="27" y="0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4" name="Freeform 469">
                <a:extLst>
                  <a:ext uri="{FF2B5EF4-FFF2-40B4-BE49-F238E27FC236}">
                    <a16:creationId xmlns:a16="http://schemas.microsoft.com/office/drawing/2014/main" id="{48A02056-32CE-4D99-A066-8C080752E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3713" y="5418138"/>
                <a:ext cx="177800" cy="242888"/>
              </a:xfrm>
              <a:custGeom>
                <a:avLst/>
                <a:gdLst>
                  <a:gd name="T0" fmla="*/ 112 w 112"/>
                  <a:gd name="T1" fmla="*/ 153 h 153"/>
                  <a:gd name="T2" fmla="*/ 43 w 112"/>
                  <a:gd name="T3" fmla="*/ 153 h 153"/>
                  <a:gd name="T4" fmla="*/ 0 w 112"/>
                  <a:gd name="T5" fmla="*/ 0 h 153"/>
                  <a:gd name="T6" fmla="*/ 53 w 112"/>
                  <a:gd name="T7" fmla="*/ 0 h 153"/>
                  <a:gd name="T8" fmla="*/ 112 w 112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153">
                    <a:moveTo>
                      <a:pt x="112" y="153"/>
                    </a:moveTo>
                    <a:lnTo>
                      <a:pt x="43" y="153"/>
                    </a:lnTo>
                    <a:lnTo>
                      <a:pt x="0" y="0"/>
                    </a:lnTo>
                    <a:lnTo>
                      <a:pt x="53" y="0"/>
                    </a:lnTo>
                    <a:lnTo>
                      <a:pt x="112" y="153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5" name="Freeform 470">
                <a:extLst>
                  <a:ext uri="{FF2B5EF4-FFF2-40B4-BE49-F238E27FC236}">
                    <a16:creationId xmlns:a16="http://schemas.microsoft.com/office/drawing/2014/main" id="{5A78025A-0AB6-4F5D-B674-727D29FE55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163" y="5418138"/>
                <a:ext cx="150813" cy="242888"/>
              </a:xfrm>
              <a:custGeom>
                <a:avLst/>
                <a:gdLst>
                  <a:gd name="T0" fmla="*/ 95 w 95"/>
                  <a:gd name="T1" fmla="*/ 153 h 153"/>
                  <a:gd name="T2" fmla="*/ 26 w 95"/>
                  <a:gd name="T3" fmla="*/ 153 h 153"/>
                  <a:gd name="T4" fmla="*/ 0 w 95"/>
                  <a:gd name="T5" fmla="*/ 0 h 153"/>
                  <a:gd name="T6" fmla="*/ 52 w 95"/>
                  <a:gd name="T7" fmla="*/ 0 h 153"/>
                  <a:gd name="T8" fmla="*/ 95 w 95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153">
                    <a:moveTo>
                      <a:pt x="95" y="153"/>
                    </a:moveTo>
                    <a:lnTo>
                      <a:pt x="26" y="153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95" y="15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6" name="Freeform 471">
                <a:extLst>
                  <a:ext uri="{FF2B5EF4-FFF2-40B4-BE49-F238E27FC236}">
                    <a16:creationId xmlns:a16="http://schemas.microsoft.com/office/drawing/2014/main" id="{7EBD29E3-E152-4B1A-B997-02303C4AE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2901" y="5418138"/>
                <a:ext cx="109538" cy="242888"/>
              </a:xfrm>
              <a:custGeom>
                <a:avLst/>
                <a:gdLst>
                  <a:gd name="T0" fmla="*/ 69 w 69"/>
                  <a:gd name="T1" fmla="*/ 153 h 153"/>
                  <a:gd name="T2" fmla="*/ 0 w 69"/>
                  <a:gd name="T3" fmla="*/ 153 h 153"/>
                  <a:gd name="T4" fmla="*/ 0 w 69"/>
                  <a:gd name="T5" fmla="*/ 0 h 153"/>
                  <a:gd name="T6" fmla="*/ 43 w 69"/>
                  <a:gd name="T7" fmla="*/ 0 h 153"/>
                  <a:gd name="T8" fmla="*/ 69 w 69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153">
                    <a:moveTo>
                      <a:pt x="69" y="153"/>
                    </a:moveTo>
                    <a:lnTo>
                      <a:pt x="0" y="153"/>
                    </a:lnTo>
                    <a:lnTo>
                      <a:pt x="0" y="0"/>
                    </a:lnTo>
                    <a:lnTo>
                      <a:pt x="43" y="0"/>
                    </a:lnTo>
                    <a:lnTo>
                      <a:pt x="69" y="153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7" name="Rectangle 472">
                <a:extLst>
                  <a:ext uri="{FF2B5EF4-FFF2-40B4-BE49-F238E27FC236}">
                    <a16:creationId xmlns:a16="http://schemas.microsoft.com/office/drawing/2014/main" id="{41A69937-AACC-4AB2-B48C-935BE7647B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238" y="5759451"/>
                <a:ext cx="339725" cy="192088"/>
              </a:xfrm>
              <a:prstGeom prst="rect">
                <a:avLst/>
              </a:prstGeom>
              <a:solidFill>
                <a:srgbClr val="6FDA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8" name="Freeform 473">
                <a:extLst>
                  <a:ext uri="{FF2B5EF4-FFF2-40B4-BE49-F238E27FC236}">
                    <a16:creationId xmlns:a16="http://schemas.microsoft.com/office/drawing/2014/main" id="{08EAD96A-4E5A-4E66-BBFB-CFA5D2ED95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238" y="5759451"/>
                <a:ext cx="339725" cy="192088"/>
              </a:xfrm>
              <a:custGeom>
                <a:avLst/>
                <a:gdLst>
                  <a:gd name="T0" fmla="*/ 214 w 214"/>
                  <a:gd name="T1" fmla="*/ 121 h 121"/>
                  <a:gd name="T2" fmla="*/ 0 w 214"/>
                  <a:gd name="T3" fmla="*/ 121 h 121"/>
                  <a:gd name="T4" fmla="*/ 214 w 214"/>
                  <a:gd name="T5" fmla="*/ 0 h 121"/>
                  <a:gd name="T6" fmla="*/ 214 w 214"/>
                  <a:gd name="T7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4" h="121">
                    <a:moveTo>
                      <a:pt x="214" y="121"/>
                    </a:moveTo>
                    <a:lnTo>
                      <a:pt x="0" y="121"/>
                    </a:lnTo>
                    <a:lnTo>
                      <a:pt x="214" y="0"/>
                    </a:lnTo>
                    <a:lnTo>
                      <a:pt x="214" y="121"/>
                    </a:lnTo>
                    <a:close/>
                  </a:path>
                </a:pathLst>
              </a:cu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9" name="Rectangle 474">
                <a:extLst>
                  <a:ext uri="{FF2B5EF4-FFF2-40B4-BE49-F238E27FC236}">
                    <a16:creationId xmlns:a16="http://schemas.microsoft.com/office/drawing/2014/main" id="{79D3162C-3840-4C08-ACA6-66AB6F312F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6401" y="5759451"/>
                <a:ext cx="171450" cy="158750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0" name="Rectangle 475">
                <a:extLst>
                  <a:ext uri="{FF2B5EF4-FFF2-40B4-BE49-F238E27FC236}">
                    <a16:creationId xmlns:a16="http://schemas.microsoft.com/office/drawing/2014/main" id="{DB0DB21F-F201-4D8F-B688-576F564AA3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6401" y="5951538"/>
                <a:ext cx="171450" cy="147638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1" name="Freeform 476">
                <a:extLst>
                  <a:ext uri="{FF2B5EF4-FFF2-40B4-BE49-F238E27FC236}">
                    <a16:creationId xmlns:a16="http://schemas.microsoft.com/office/drawing/2014/main" id="{7E60C3EF-FE96-4471-BA33-4AB0B2DA7E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913" y="5926138"/>
                <a:ext cx="388938" cy="85725"/>
              </a:xfrm>
              <a:custGeom>
                <a:avLst/>
                <a:gdLst>
                  <a:gd name="T0" fmla="*/ 103 w 103"/>
                  <a:gd name="T1" fmla="*/ 23 h 23"/>
                  <a:gd name="T2" fmla="*/ 79 w 103"/>
                  <a:gd name="T3" fmla="*/ 5 h 23"/>
                  <a:gd name="T4" fmla="*/ 60 w 103"/>
                  <a:gd name="T5" fmla="*/ 11 h 23"/>
                  <a:gd name="T6" fmla="*/ 51 w 103"/>
                  <a:gd name="T7" fmla="*/ 5 h 23"/>
                  <a:gd name="T8" fmla="*/ 43 w 103"/>
                  <a:gd name="T9" fmla="*/ 11 h 23"/>
                  <a:gd name="T10" fmla="*/ 28 w 103"/>
                  <a:gd name="T11" fmla="*/ 0 h 23"/>
                  <a:gd name="T12" fmla="*/ 12 w 103"/>
                  <a:gd name="T13" fmla="*/ 14 h 23"/>
                  <a:gd name="T14" fmla="*/ 8 w 103"/>
                  <a:gd name="T15" fmla="*/ 12 h 23"/>
                  <a:gd name="T16" fmla="*/ 0 w 103"/>
                  <a:gd name="T17" fmla="*/ 23 h 23"/>
                  <a:gd name="T18" fmla="*/ 103 w 103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" h="23">
                    <a:moveTo>
                      <a:pt x="103" y="23"/>
                    </a:moveTo>
                    <a:cubicBezTo>
                      <a:pt x="103" y="13"/>
                      <a:pt x="92" y="5"/>
                      <a:pt x="79" y="5"/>
                    </a:cubicBezTo>
                    <a:cubicBezTo>
                      <a:pt x="71" y="5"/>
                      <a:pt x="65" y="8"/>
                      <a:pt x="60" y="11"/>
                    </a:cubicBezTo>
                    <a:cubicBezTo>
                      <a:pt x="58" y="8"/>
                      <a:pt x="55" y="5"/>
                      <a:pt x="51" y="5"/>
                    </a:cubicBezTo>
                    <a:cubicBezTo>
                      <a:pt x="48" y="5"/>
                      <a:pt x="45" y="7"/>
                      <a:pt x="43" y="11"/>
                    </a:cubicBezTo>
                    <a:cubicBezTo>
                      <a:pt x="40" y="5"/>
                      <a:pt x="34" y="0"/>
                      <a:pt x="28" y="0"/>
                    </a:cubicBezTo>
                    <a:cubicBezTo>
                      <a:pt x="20" y="0"/>
                      <a:pt x="13" y="6"/>
                      <a:pt x="12" y="14"/>
                    </a:cubicBezTo>
                    <a:cubicBezTo>
                      <a:pt x="10" y="13"/>
                      <a:pt x="9" y="12"/>
                      <a:pt x="8" y="12"/>
                    </a:cubicBezTo>
                    <a:cubicBezTo>
                      <a:pt x="3" y="12"/>
                      <a:pt x="0" y="17"/>
                      <a:pt x="0" y="23"/>
                    </a:cubicBezTo>
                    <a:lnTo>
                      <a:pt x="103" y="23"/>
                    </a:lnTo>
                    <a:close/>
                  </a:path>
                </a:pathLst>
              </a:custGeom>
              <a:solidFill>
                <a:srgbClr val="0D96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2" name="Rectangle 477">
                <a:extLst>
                  <a:ext uri="{FF2B5EF4-FFF2-40B4-BE49-F238E27FC236}">
                    <a16:creationId xmlns:a16="http://schemas.microsoft.com/office/drawing/2014/main" id="{5384473D-6D85-46D3-8AB2-89A3A789F8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913" y="6011863"/>
                <a:ext cx="388938" cy="87313"/>
              </a:xfrm>
              <a:prstGeom prst="rect">
                <a:avLst/>
              </a:prstGeom>
              <a:solidFill>
                <a:srgbClr val="9C61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3" name="Rectangle 478">
                <a:extLst>
                  <a:ext uri="{FF2B5EF4-FFF2-40B4-BE49-F238E27FC236}">
                    <a16:creationId xmlns:a16="http://schemas.microsoft.com/office/drawing/2014/main" id="{B0A552A8-E2B0-472D-836D-E9CEE0FFEC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913" y="6011863"/>
                <a:ext cx="388938" cy="26988"/>
              </a:xfrm>
              <a:prstGeom prst="rect">
                <a:avLst/>
              </a:prstGeom>
              <a:solidFill>
                <a:srgbClr val="AF76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94" name="Slide Number Placeholder 93">
            <a:extLst>
              <a:ext uri="{FF2B5EF4-FFF2-40B4-BE49-F238E27FC236}">
                <a16:creationId xmlns:a16="http://schemas.microsoft.com/office/drawing/2014/main" id="{ECB8D3FA-85B0-4687-9A60-D54F9B1A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57F4DFB-AA8B-7208-D423-0DF2800BE0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841" y="-532535"/>
            <a:ext cx="1806735" cy="1806735"/>
          </a:xfrm>
          <a:prstGeom prst="rect">
            <a:avLst/>
          </a:prstGeom>
        </p:spPr>
      </p:pic>
      <p:pic>
        <p:nvPicPr>
          <p:cNvPr id="6" name="Picture 5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C98512E-B76C-AAC0-813D-EBAF42C0CD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657" y="691085"/>
            <a:ext cx="5221765" cy="5221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450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r44agDtDiKB4hWkrC5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3puCAADTYTw7_AXZsv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Uq_0bGD5mMVlqliRQc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111</TotalTime>
  <Words>1155</Words>
  <Application>Microsoft Office PowerPoint</Application>
  <PresentationFormat>Widescreen</PresentationFormat>
  <Paragraphs>302</Paragraphs>
  <Slides>29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5" baseType="lpstr">
      <vt:lpstr>Arial</vt:lpstr>
      <vt:lpstr>Calibri</vt:lpstr>
      <vt:lpstr>Calibri Light</vt:lpstr>
      <vt:lpstr>Segoe UI</vt:lpstr>
      <vt:lpstr>Office Theme</vt:lpstr>
      <vt:lpstr>think-cell Slide</vt:lpstr>
      <vt:lpstr>PowerPoint Presentation</vt:lpstr>
      <vt:lpstr>PowerPoint Presentation</vt:lpstr>
      <vt:lpstr>PowerPoint Presentation</vt:lpstr>
      <vt:lpstr>Georgi Ivanov</vt:lpstr>
      <vt:lpstr>PowerPoint Presentation</vt:lpstr>
      <vt:lpstr>PowerPoint Presentation</vt:lpstr>
      <vt:lpstr>Infrastructure Management</vt:lpstr>
      <vt:lpstr>Infrastructure As Code (IaC) in practice</vt:lpstr>
      <vt:lpstr>But there are multiple IaC applications</vt:lpstr>
      <vt:lpstr>PowerPoint Presentation</vt:lpstr>
      <vt:lpstr>PowerPoint Presentation</vt:lpstr>
      <vt:lpstr>PowerPoint Presentation</vt:lpstr>
      <vt:lpstr>PowerPoint Presentation</vt:lpstr>
      <vt:lpstr>Azure Template Spe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 Community; Raz Dynamics</dc:creator>
  <cp:lastModifiedBy>Georgi Ivanov</cp:lastModifiedBy>
  <cp:revision>407</cp:revision>
  <dcterms:created xsi:type="dcterms:W3CDTF">2020-10-26T06:25:39Z</dcterms:created>
  <dcterms:modified xsi:type="dcterms:W3CDTF">2024-09-28T12:29:42Z</dcterms:modified>
</cp:coreProperties>
</file>